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668" r:id="rId2"/>
    <p:sldId id="683" r:id="rId3"/>
    <p:sldId id="663" r:id="rId4"/>
    <p:sldId id="684" r:id="rId5"/>
    <p:sldId id="654" r:id="rId6"/>
    <p:sldId id="655" r:id="rId7"/>
    <p:sldId id="676" r:id="rId8"/>
    <p:sldId id="665" r:id="rId9"/>
    <p:sldId id="681" r:id="rId10"/>
    <p:sldId id="657" r:id="rId11"/>
    <p:sldId id="671" r:id="rId12"/>
    <p:sldId id="685" r:id="rId13"/>
    <p:sldId id="686" r:id="rId14"/>
    <p:sldId id="687" r:id="rId15"/>
    <p:sldId id="688" r:id="rId16"/>
    <p:sldId id="689" r:id="rId17"/>
    <p:sldId id="690" r:id="rId18"/>
    <p:sldId id="693" r:id="rId19"/>
    <p:sldId id="692" r:id="rId20"/>
    <p:sldId id="691" r:id="rId21"/>
    <p:sldId id="653" r:id="rId22"/>
  </p:sldIdLst>
  <p:sldSz cx="9144000" cy="6858000" type="screen4x3"/>
  <p:notesSz cx="6858000" cy="9945688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esen Tation" initials="PT" lastIdx="1" clrIdx="0">
    <p:extLst/>
  </p:cmAuthor>
  <p:cmAuthor id="2" name="Mariya.Sklyarova@evraz.com" initials="M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B82E"/>
    <a:srgbClr val="B7B7B6"/>
    <a:srgbClr val="F2F2F2"/>
    <a:srgbClr val="FFFFFF"/>
    <a:srgbClr val="939391"/>
    <a:srgbClr val="ED7817"/>
    <a:srgbClr val="916303"/>
    <a:srgbClr val="B55A0E"/>
    <a:srgbClr val="F8A906"/>
    <a:srgbClr val="FCD48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1176" autoAdjust="0"/>
    <p:restoredTop sz="96601" autoAdjust="0"/>
  </p:normalViewPr>
  <p:slideViewPr>
    <p:cSldViewPr snapToGrid="0" showGuides="1">
      <p:cViewPr>
        <p:scale>
          <a:sx n="80" d="100"/>
          <a:sy n="80" d="100"/>
        </p:scale>
        <p:origin x="-594" y="-72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377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DEBC57C0-EA97-4D37-B645-A75E08A9BEA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2D34DD63-5183-43F8-9734-EE72F8C2923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90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8CFEDB-406D-4CE9-BDF2-12514B33EC6D}" type="datetimeFigureOut">
              <a:rPr lang="en-US" smtClean="0"/>
              <a:pPr/>
              <a:t>6/1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9F197843-8301-46B4-9D37-AE590B3D848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6678"/>
            <a:ext cx="2971800" cy="4990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7DF9BD0B-8084-40F5-90FE-11200E5D0FA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9446678"/>
            <a:ext cx="2971800" cy="4990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5C1379-B67B-47A8-B8CA-B9C02C0EE3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9198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90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C1F4D-0ADD-4CDA-B0E9-DB8976C6B34F}" type="datetimeFigureOut">
              <a:rPr lang="ru-RU" smtClean="0"/>
              <a:pPr/>
              <a:t>15.06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90625" y="1243013"/>
            <a:ext cx="4476750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86362"/>
            <a:ext cx="5486400" cy="391611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6678"/>
            <a:ext cx="2971800" cy="4990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6678"/>
            <a:ext cx="2971800" cy="4990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324990-9F86-48AB-BDDF-592782F380E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65185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0625" y="1243013"/>
            <a:ext cx="447675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4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8959E9-44AC-47C3-9797-033FD3DCFC5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227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1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718593BB-B89D-4230-AEB5-D90F9225FF53}"/>
              </a:ext>
            </a:extLst>
          </p:cNvPr>
          <p:cNvSpPr/>
          <p:nvPr userDrawn="1"/>
        </p:nvSpPr>
        <p:spPr>
          <a:xfrm>
            <a:off x="8227817" y="0"/>
            <a:ext cx="916185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16820AE5-62B1-414B-80FE-2AFD0A76C0A0}"/>
              </a:ext>
            </a:extLst>
          </p:cNvPr>
          <p:cNvSpPr/>
          <p:nvPr userDrawn="1"/>
        </p:nvSpPr>
        <p:spPr>
          <a:xfrm flipH="1" flipV="1">
            <a:off x="1714502" y="5257800"/>
            <a:ext cx="6513315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F0EB3A75-459B-4A6D-8FEE-8BAE16CC45CE}"/>
              </a:ext>
            </a:extLst>
          </p:cNvPr>
          <p:cNvSpPr/>
          <p:nvPr userDrawn="1"/>
        </p:nvSpPr>
        <p:spPr>
          <a:xfrm flipH="1" flipV="1">
            <a:off x="0" y="6411912"/>
            <a:ext cx="1714500" cy="446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34AE5BAB-FF7E-4F6A-963E-D44BBCFFD8E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5087093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="" xmlns:a16="http://schemas.microsoft.com/office/drawing/2014/main" id="{A9ECD82C-4554-4B8B-B82A-B2AFC758FA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5087093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18" name="Text Placeholder 4">
            <a:extLst>
              <a:ext uri="{FF2B5EF4-FFF2-40B4-BE49-F238E27FC236}">
                <a16:creationId xmlns="" xmlns:a16="http://schemas.microsoft.com/office/drawing/2014/main" id="{38962044-D28C-4D5A-840F-73678A7C2E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="" xmlns:a16="http://schemas.microsoft.com/office/drawing/2014/main" id="{703F1DF3-E5F0-4118-8A49-D131D529FE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  <p:pic>
        <p:nvPicPr>
          <p:cNvPr id="23" name="Graphic 22">
            <a:extLst>
              <a:ext uri="{FF2B5EF4-FFF2-40B4-BE49-F238E27FC236}">
                <a16:creationId xmlns="" xmlns:a16="http://schemas.microsoft.com/office/drawing/2014/main" id="{8BFDBDD7-0000-43AE-8F6E-6277D4C77C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grpSp>
        <p:nvGrpSpPr>
          <p:cNvPr id="35" name="Graphic 21">
            <a:extLst>
              <a:ext uri="{FF2B5EF4-FFF2-40B4-BE49-F238E27FC236}">
                <a16:creationId xmlns="" xmlns:a16="http://schemas.microsoft.com/office/drawing/2014/main" id="{A6017365-70B4-499B-8EA1-6797665DBB74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36" name="Полилиния: фигура 35">
              <a:extLst>
                <a:ext uri="{FF2B5EF4-FFF2-40B4-BE49-F238E27FC236}">
                  <a16:creationId xmlns="" xmlns:a16="http://schemas.microsoft.com/office/drawing/2014/main" id="{354BF6F7-DB2A-410D-9F62-65D5AE6D5E2D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36">
              <a:extLst>
                <a:ext uri="{FF2B5EF4-FFF2-40B4-BE49-F238E27FC236}">
                  <a16:creationId xmlns="" xmlns:a16="http://schemas.microsoft.com/office/drawing/2014/main" id="{7164D106-14C8-45A0-BDD3-B37D984704C1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8" name="Graphic 20">
            <a:extLst>
              <a:ext uri="{FF2B5EF4-FFF2-40B4-BE49-F238E27FC236}">
                <a16:creationId xmlns="" xmlns:a16="http://schemas.microsoft.com/office/drawing/2014/main" id="{3F96E3C5-14C9-430F-A5D9-4DBC1E980268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39" name="Полилиния: фигура 38">
              <a:extLst>
                <a:ext uri="{FF2B5EF4-FFF2-40B4-BE49-F238E27FC236}">
                  <a16:creationId xmlns="" xmlns:a16="http://schemas.microsoft.com/office/drawing/2014/main" id="{EA1794F8-AF14-4544-BA32-64E60BAEDC87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39">
              <a:extLst>
                <a:ext uri="{FF2B5EF4-FFF2-40B4-BE49-F238E27FC236}">
                  <a16:creationId xmlns="" xmlns:a16="http://schemas.microsoft.com/office/drawing/2014/main" id="{0B827382-32AD-4989-8AF1-68986FEE73CF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0">
              <a:extLst>
                <a:ext uri="{FF2B5EF4-FFF2-40B4-BE49-F238E27FC236}">
                  <a16:creationId xmlns="" xmlns:a16="http://schemas.microsoft.com/office/drawing/2014/main" id="{9B4735BF-2B72-4A5E-A1FC-692FF90A00A1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="" xmlns:a16="http://schemas.microsoft.com/office/drawing/2014/main" id="{68CC3C61-E03D-4CCE-8417-07DC093ED3D8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="" xmlns:a16="http://schemas.microsoft.com/office/drawing/2014/main" id="{15271A55-7855-4900-BDE0-10C48A51FAA3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="" xmlns:a16="http://schemas.microsoft.com/office/drawing/2014/main" id="{6ACA2179-AD04-4A19-8039-B2B94B91BCDC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="" xmlns:a16="http://schemas.microsoft.com/office/drawing/2014/main" id="{8AEC5509-423D-4E0A-95FD-9E3C156EF61E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9329038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9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CC3A1D29-3597-46A5-A105-1B500B27386E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6A82D8C5-7491-4ED3-ACF4-71B835A64670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0">
            <a:extLst>
              <a:ext uri="{FF2B5EF4-FFF2-40B4-BE49-F238E27FC236}">
                <a16:creationId xmlns="" xmlns:a16="http://schemas.microsoft.com/office/drawing/2014/main" id="{FD9F52B2-A83E-4321-A9AF-CED44FFE29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11" name="Текст 5">
            <a:extLst>
              <a:ext uri="{FF2B5EF4-FFF2-40B4-BE49-F238E27FC236}">
                <a16:creationId xmlns="" xmlns:a16="http://schemas.microsoft.com/office/drawing/2014/main" id="{835140BF-FC6E-499C-92C8-879AF989D3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507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0175464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68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1A11D9AC-D4CB-4F06-95E2-EF5628545F55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4183F293-4728-425D-9BAA-76E426B790BB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962841C2-FE17-447B-8022-B906B8A16F38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="" xmlns:a16="http://schemas.microsoft.com/office/drawing/2014/main" id="{DB4037E0-1805-4ADB-AE80-4A72F5EF59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5701677D-E0FF-471E-AE99-65B26B898A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EE9604F5-CDEE-4E2F-BD54-57A25EB3470E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="" xmlns:a16="http://schemas.microsoft.com/office/drawing/2014/main" id="{1B9784E4-B1DD-420A-9A97-5462F8E97D9F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0FF230F7-E217-4F6D-B0FD-86010F70F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9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13" name="Текст 5">
            <a:extLst>
              <a:ext uri="{FF2B5EF4-FFF2-40B4-BE49-F238E27FC236}">
                <a16:creationId xmlns="" xmlns:a16="http://schemas.microsoft.com/office/drawing/2014/main" id="{86954D08-987F-412B-9CAF-B521205C65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507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4065230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68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, Ди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9">
            <a:extLst>
              <a:ext uri="{FF2B5EF4-FFF2-40B4-BE49-F238E27FC236}">
                <a16:creationId xmlns="" xmlns:a16="http://schemas.microsoft.com/office/drawing/2014/main" id="{33EC3C54-5CB6-47FA-B905-9E3F122ACAD7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34681" y="3142687"/>
            <a:ext cx="8472488" cy="273424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Text Placeholder 7">
            <a:extLst>
              <a:ext uri="{FF2B5EF4-FFF2-40B4-BE49-F238E27FC236}">
                <a16:creationId xmlns="" xmlns:a16="http://schemas.microsoft.com/office/drawing/2014/main" id="{7FFEF65A-D7B7-48A0-8EA0-D8F75EC973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1" y="6060358"/>
            <a:ext cx="8463380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=""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335761" y="3068487"/>
            <a:ext cx="84708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6C5CCADD-AF30-4903-A2D8-FD3F61874A2D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0FDA05D0-B4A7-4B47-8D23-4F6943C09363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D5085A36-7617-41C0-9072-D68310797C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9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pic>
        <p:nvPicPr>
          <p:cNvPr id="15" name="Graphic 10">
            <a:extLst>
              <a:ext uri="{FF2B5EF4-FFF2-40B4-BE49-F238E27FC236}">
                <a16:creationId xmlns="" xmlns:a16="http://schemas.microsoft.com/office/drawing/2014/main" id="{E706B721-5AC3-4682-BCB5-87EE1DB771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291C1F0A-B28F-40FE-B686-FE49601B2173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2744795"/>
            <a:ext cx="846641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9" name="Текст 5">
            <a:extLst>
              <a:ext uri="{FF2B5EF4-FFF2-40B4-BE49-F238E27FC236}">
                <a16:creationId xmlns="" xmlns:a16="http://schemas.microsoft.com/office/drawing/2014/main" id="{A32F0F76-B882-439D-8DD1-5614C097EA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3581631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570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1933" userDrawn="1">
          <p15:clr>
            <a:srgbClr val="FBAE40"/>
          </p15:clr>
        </p15:guide>
        <p15:guide id="8" orient="horz" pos="3702" userDrawn="1">
          <p15:clr>
            <a:srgbClr val="FBAE40"/>
          </p15:clr>
        </p15:guide>
        <p15:guide id="9" orient="horz" pos="197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Текст, Ди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=""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335761" y="3068487"/>
            <a:ext cx="84708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6C5CCADD-AF30-4903-A2D8-FD3F61874A2D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7">
            <a:extLst>
              <a:ext uri="{FF2B5EF4-FFF2-40B4-BE49-F238E27FC236}">
                <a16:creationId xmlns="" xmlns:a16="http://schemas.microsoft.com/office/drawing/2014/main" id="{D3D5B639-F382-420E-8262-36EC0A6950D4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6" name="Rectangle 8">
            <a:extLst>
              <a:ext uri="{FF2B5EF4-FFF2-40B4-BE49-F238E27FC236}">
                <a16:creationId xmlns="" xmlns:a16="http://schemas.microsoft.com/office/drawing/2014/main" id="{BC670ADD-ECB9-4E98-9BE3-2727D4431503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7" name="Rectangle 24">
            <a:extLst>
              <a:ext uri="{FF2B5EF4-FFF2-40B4-BE49-F238E27FC236}">
                <a16:creationId xmlns="" xmlns:a16="http://schemas.microsoft.com/office/drawing/2014/main" id="{5C888821-A027-41DC-A899-102DDC535582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21" name="Graphic 10">
            <a:extLst>
              <a:ext uri="{FF2B5EF4-FFF2-40B4-BE49-F238E27FC236}">
                <a16:creationId xmlns="" xmlns:a16="http://schemas.microsoft.com/office/drawing/2014/main" id="{D1ACF899-379A-4D94-A6A9-B5A5F21D97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2" name="Footer Placeholder 2">
            <a:extLst>
              <a:ext uri="{FF2B5EF4-FFF2-40B4-BE49-F238E27FC236}">
                <a16:creationId xmlns="" xmlns:a16="http://schemas.microsoft.com/office/drawing/2014/main" id="{3082BB11-613C-42A7-88F1-1D4AA7EBDC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23" name="Slide Number Placeholder 3">
            <a:extLst>
              <a:ext uri="{FF2B5EF4-FFF2-40B4-BE49-F238E27FC236}">
                <a16:creationId xmlns="" xmlns:a16="http://schemas.microsoft.com/office/drawing/2014/main" id="{A72BCA8E-7402-4089-B610-14873AD353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92C6674F-DA70-4028-AB20-0A3508B282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1" y="6060358"/>
            <a:ext cx="8463380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cxnSp>
        <p:nvCxnSpPr>
          <p:cNvPr id="25" name="Straight Connector 17">
            <a:extLst>
              <a:ext uri="{FF2B5EF4-FFF2-40B4-BE49-F238E27FC236}">
                <a16:creationId xmlns="" xmlns:a16="http://schemas.microsoft.com/office/drawing/2014/main" id="{A9BF954D-A695-4E16-AA8F-15D9EA21CC52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Текст 7">
            <a:extLst>
              <a:ext uri="{FF2B5EF4-FFF2-40B4-BE49-F238E27FC236}">
                <a16:creationId xmlns="" xmlns:a16="http://schemas.microsoft.com/office/drawing/2014/main" id="{E8F6A4DB-AC3C-4AF0-8485-F951D7BAE083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2744795"/>
            <a:ext cx="846641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8" name="Content Placeholder 9">
            <a:extLst>
              <a:ext uri="{FF2B5EF4-FFF2-40B4-BE49-F238E27FC236}">
                <a16:creationId xmlns="" xmlns:a16="http://schemas.microsoft.com/office/drawing/2014/main" id="{845ADF40-8E7D-4920-8C69-E6D5EE90592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34681" y="3142687"/>
            <a:ext cx="8472488" cy="273424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16" name="Текст 5">
            <a:extLst>
              <a:ext uri="{FF2B5EF4-FFF2-40B4-BE49-F238E27FC236}">
                <a16:creationId xmlns="" xmlns:a16="http://schemas.microsoft.com/office/drawing/2014/main" id="{113D4F2B-3691-4D3D-8EFB-E8BA1571BA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4041630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570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1933" userDrawn="1">
          <p15:clr>
            <a:srgbClr val="FBAE40"/>
          </p15:clr>
        </p15:guide>
        <p15:guide id="8" orient="horz" pos="3702" userDrawn="1">
          <p15:clr>
            <a:srgbClr val="FBAE40"/>
          </p15:clr>
        </p15:guide>
        <p15:guide id="9" orient="horz" pos="197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FA5E980A-C1BE-4325-9B04-6215EFAA9A9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516500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5" name="Текст 7">
            <a:extLst>
              <a:ext uri="{FF2B5EF4-FFF2-40B4-BE49-F238E27FC236}">
                <a16:creationId xmlns="" xmlns:a16="http://schemas.microsoft.com/office/drawing/2014/main" id="{CCD7A786-C429-47A5-978F-5D3C1D46D5E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54094" y="1844676"/>
            <a:ext cx="414700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3F16E99F-FDB1-42FA-A4E3-1600C3F4B0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516500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8" name="Текст 7">
            <a:extLst>
              <a:ext uri="{FF2B5EF4-FFF2-40B4-BE49-F238E27FC236}">
                <a16:creationId xmlns="" xmlns:a16="http://schemas.microsoft.com/office/drawing/2014/main" id="{F4447B33-C9C8-4145-9A7A-8D7EF17D77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5760" y="1844676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="" xmlns:a16="http://schemas.microsoft.com/office/drawing/2014/main" id="{FA6C18E5-5F19-4FDE-8907-070311F9BA69}"/>
              </a:ext>
            </a:extLst>
          </p:cNvPr>
          <p:cNvCxnSpPr>
            <a:cxnSpLocks/>
          </p:cNvCxnSpPr>
          <p:nvPr userDrawn="1"/>
        </p:nvCxnSpPr>
        <p:spPr>
          <a:xfrm>
            <a:off x="335757" y="2173137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="" xmlns:a16="http://schemas.microsoft.com/office/drawing/2014/main" id="{1B4B2A7B-9BD1-46D6-972E-0F7E56C711E4}"/>
              </a:ext>
            </a:extLst>
          </p:cNvPr>
          <p:cNvCxnSpPr>
            <a:cxnSpLocks/>
          </p:cNvCxnSpPr>
          <p:nvPr userDrawn="1"/>
        </p:nvCxnSpPr>
        <p:spPr>
          <a:xfrm>
            <a:off x="4654886" y="2173137"/>
            <a:ext cx="4141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9">
            <a:extLst>
              <a:ext uri="{FF2B5EF4-FFF2-40B4-BE49-F238E27FC236}">
                <a16:creationId xmlns="" xmlns:a16="http://schemas.microsoft.com/office/drawing/2014/main" id="{A4171FC7-AA7E-4546-8346-7014B013C441}"/>
              </a:ext>
            </a:extLst>
          </p:cNvPr>
          <p:cNvSpPr>
            <a:spLocks noGrp="1"/>
          </p:cNvSpPr>
          <p:nvPr>
            <p:ph sz="quarter" idx="66" hasCustomPrompt="1"/>
          </p:nvPr>
        </p:nvSpPr>
        <p:spPr>
          <a:xfrm>
            <a:off x="334681" y="2241550"/>
            <a:ext cx="4156358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1" name="Content Placeholder 9">
            <a:extLst>
              <a:ext uri="{FF2B5EF4-FFF2-40B4-BE49-F238E27FC236}">
                <a16:creationId xmlns="" xmlns:a16="http://schemas.microsoft.com/office/drawing/2014/main" id="{29C37C28-18DE-4F46-8001-C3D8FE6F5930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4644742" y="2241550"/>
            <a:ext cx="4156358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pic>
        <p:nvPicPr>
          <p:cNvPr id="20" name="Graphic 10">
            <a:extLst>
              <a:ext uri="{FF2B5EF4-FFF2-40B4-BE49-F238E27FC236}">
                <a16:creationId xmlns="" xmlns:a16="http://schemas.microsoft.com/office/drawing/2014/main" id="{FC17339A-45C3-4EE0-977A-E60EE5A225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2" name="Footer Placeholder 2">
            <a:extLst>
              <a:ext uri="{FF2B5EF4-FFF2-40B4-BE49-F238E27FC236}">
                <a16:creationId xmlns="" xmlns:a16="http://schemas.microsoft.com/office/drawing/2014/main" id="{C593B922-607B-4BE9-9571-CD9C33B20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23" name="Slide Number Placeholder 3">
            <a:extLst>
              <a:ext uri="{FF2B5EF4-FFF2-40B4-BE49-F238E27FC236}">
                <a16:creationId xmlns="" xmlns:a16="http://schemas.microsoft.com/office/drawing/2014/main" id="{DF771971-5F3A-4DDE-8CF8-16F2E17999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26530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3249" userDrawn="1">
          <p15:clr>
            <a:srgbClr val="FBAE40"/>
          </p15:clr>
        </p15:guide>
        <p15:guide id="7" orient="horz" pos="1366" userDrawn="1">
          <p15:clr>
            <a:srgbClr val="FBAE40"/>
          </p15:clr>
        </p15:guide>
        <p15:guide id="8" orient="horz" pos="1162" userDrawn="1">
          <p15:clr>
            <a:srgbClr val="FBAE40"/>
          </p15:clr>
        </p15:guide>
        <p15:guide id="9" orient="horz" pos="3135" userDrawn="1">
          <p15:clr>
            <a:srgbClr val="FBAE40"/>
          </p15:clr>
        </p15:guide>
        <p15:guide id="10" orient="horz" pos="141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7">
            <a:extLst>
              <a:ext uri="{FF2B5EF4-FFF2-40B4-BE49-F238E27FC236}">
                <a16:creationId xmlns="" xmlns:a16="http://schemas.microsoft.com/office/drawing/2014/main" id="{FA5E980A-C1BE-4325-9B04-6215EFAA9A9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516500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5" name="Текст 7">
            <a:extLst>
              <a:ext uri="{FF2B5EF4-FFF2-40B4-BE49-F238E27FC236}">
                <a16:creationId xmlns="" xmlns:a16="http://schemas.microsoft.com/office/drawing/2014/main" id="{CCD7A786-C429-47A5-978F-5D3C1D46D5E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54094" y="1844676"/>
            <a:ext cx="414700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="" xmlns:a16="http://schemas.microsoft.com/office/drawing/2014/main" id="{3F16E99F-FDB1-42FA-A4E3-1600C3F4B0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516500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8" name="Текст 7">
            <a:extLst>
              <a:ext uri="{FF2B5EF4-FFF2-40B4-BE49-F238E27FC236}">
                <a16:creationId xmlns="" xmlns:a16="http://schemas.microsoft.com/office/drawing/2014/main" id="{F4447B33-C9C8-4145-9A7A-8D7EF17D77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5760" y="1844676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="" xmlns:a16="http://schemas.microsoft.com/office/drawing/2014/main" id="{FA6C18E5-5F19-4FDE-8907-070311F9BA69}"/>
              </a:ext>
            </a:extLst>
          </p:cNvPr>
          <p:cNvCxnSpPr>
            <a:cxnSpLocks/>
          </p:cNvCxnSpPr>
          <p:nvPr userDrawn="1"/>
        </p:nvCxnSpPr>
        <p:spPr>
          <a:xfrm>
            <a:off x="335757" y="2173137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="" xmlns:a16="http://schemas.microsoft.com/office/drawing/2014/main" id="{1B4B2A7B-9BD1-46D6-972E-0F7E56C711E4}"/>
              </a:ext>
            </a:extLst>
          </p:cNvPr>
          <p:cNvCxnSpPr>
            <a:cxnSpLocks/>
          </p:cNvCxnSpPr>
          <p:nvPr userDrawn="1"/>
        </p:nvCxnSpPr>
        <p:spPr>
          <a:xfrm>
            <a:off x="4654886" y="2173137"/>
            <a:ext cx="4141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7">
            <a:extLst>
              <a:ext uri="{FF2B5EF4-FFF2-40B4-BE49-F238E27FC236}">
                <a16:creationId xmlns="" xmlns:a16="http://schemas.microsoft.com/office/drawing/2014/main" id="{21D1EDE2-6C8E-4A04-8DB2-EC5FC45DC4E6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0" name="Rectangle 8">
            <a:extLst>
              <a:ext uri="{FF2B5EF4-FFF2-40B4-BE49-F238E27FC236}">
                <a16:creationId xmlns="" xmlns:a16="http://schemas.microsoft.com/office/drawing/2014/main" id="{AB6F2C50-C609-4F8A-A127-42F0DD5527CD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1" name="Rectangle 24">
            <a:extLst>
              <a:ext uri="{FF2B5EF4-FFF2-40B4-BE49-F238E27FC236}">
                <a16:creationId xmlns="" xmlns:a16="http://schemas.microsoft.com/office/drawing/2014/main" id="{0C7E0737-0B22-4606-9BE0-BADF7E78FC16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2" name="Content Placeholder 9">
            <a:extLst>
              <a:ext uri="{FF2B5EF4-FFF2-40B4-BE49-F238E27FC236}">
                <a16:creationId xmlns="" xmlns:a16="http://schemas.microsoft.com/office/drawing/2014/main" id="{58DF5BB6-FAA4-45CD-AD62-367BA31701F9}"/>
              </a:ext>
            </a:extLst>
          </p:cNvPr>
          <p:cNvSpPr>
            <a:spLocks noGrp="1"/>
          </p:cNvSpPr>
          <p:nvPr>
            <p:ph sz="quarter" idx="66" hasCustomPrompt="1"/>
          </p:nvPr>
        </p:nvSpPr>
        <p:spPr>
          <a:xfrm>
            <a:off x="334681" y="2241550"/>
            <a:ext cx="4156358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3" name="Content Placeholder 9">
            <a:extLst>
              <a:ext uri="{FF2B5EF4-FFF2-40B4-BE49-F238E27FC236}">
                <a16:creationId xmlns="" xmlns:a16="http://schemas.microsoft.com/office/drawing/2014/main" id="{1C1A14C2-3E68-454A-A09A-27C9855F0A80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4644742" y="2241550"/>
            <a:ext cx="4156358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9" name="Title 1">
            <a:extLst>
              <a:ext uri="{FF2B5EF4-FFF2-40B4-BE49-F238E27FC236}">
                <a16:creationId xmlns="" xmlns:a16="http://schemas.microsoft.com/office/drawing/2014/main" id="{B60D7442-2522-46B9-A8C2-AB09A1937F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pic>
        <p:nvPicPr>
          <p:cNvPr id="33" name="Graphic 10">
            <a:extLst>
              <a:ext uri="{FF2B5EF4-FFF2-40B4-BE49-F238E27FC236}">
                <a16:creationId xmlns="" xmlns:a16="http://schemas.microsoft.com/office/drawing/2014/main" id="{B4EDD9C4-1B8B-440A-8F3C-FAFFA75B93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42085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3249" userDrawn="1">
          <p15:clr>
            <a:srgbClr val="FBAE40"/>
          </p15:clr>
        </p15:guide>
        <p15:guide id="7" orient="horz" pos="1366" userDrawn="1">
          <p15:clr>
            <a:srgbClr val="FBAE40"/>
          </p15:clr>
        </p15:guide>
        <p15:guide id="8" orient="horz" pos="1162" userDrawn="1">
          <p15:clr>
            <a:srgbClr val="FBAE40"/>
          </p15:clr>
        </p15:guide>
        <p15:guide id="9" orient="horz" pos="3135" userDrawn="1">
          <p15:clr>
            <a:srgbClr val="FBAE40"/>
          </p15:clr>
        </p15:guide>
        <p15:guide id="10" orient="horz" pos="14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=""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=""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=""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Текст 7">
            <a:extLst>
              <a:ext uri="{FF2B5EF4-FFF2-40B4-BE49-F238E27FC236}">
                <a16:creationId xmlns="" xmlns:a16="http://schemas.microsoft.com/office/drawing/2014/main" id="{14AC8473-DC52-4682-9125-F289525645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654090" y="3748941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29">
            <a:extLst>
              <a:ext uri="{FF2B5EF4-FFF2-40B4-BE49-F238E27FC236}">
                <a16:creationId xmlns="" xmlns:a16="http://schemas.microsoft.com/office/drawing/2014/main" id="{9536E757-1428-4F48-9977-2B3C7B4EC31E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="" xmlns:a16="http://schemas.microsoft.com/office/drawing/2014/main" id="{B7B759CC-45EA-467F-B360-431A5419CC1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0" name="Title 1">
            <a:extLst>
              <a:ext uri="{FF2B5EF4-FFF2-40B4-BE49-F238E27FC236}">
                <a16:creationId xmlns="" xmlns:a16="http://schemas.microsoft.com/office/drawing/2014/main" id="{CA20B0FB-EF92-4D57-A064-AEDB9065E2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pic>
        <p:nvPicPr>
          <p:cNvPr id="21" name="Graphic 10">
            <a:extLst>
              <a:ext uri="{FF2B5EF4-FFF2-40B4-BE49-F238E27FC236}">
                <a16:creationId xmlns="" xmlns:a16="http://schemas.microsoft.com/office/drawing/2014/main" id="{5AA872FB-77F0-4FDB-ACD7-D2687A92DA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9" name="Content Placeholder 9">
            <a:extLst>
              <a:ext uri="{FF2B5EF4-FFF2-40B4-BE49-F238E27FC236}">
                <a16:creationId xmlns="" xmlns:a16="http://schemas.microsoft.com/office/drawing/2014/main" id="{793EA810-C372-46B9-AA7D-0353BE568630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2962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="" xmlns:a16="http://schemas.microsoft.com/office/drawing/2014/main" id="{C3EFB07C-1D6F-4AF2-AC75-E7CA8521707A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4652962" y="4145433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18" name="Текст 5">
            <a:extLst>
              <a:ext uri="{FF2B5EF4-FFF2-40B4-BE49-F238E27FC236}">
                <a16:creationId xmlns="" xmlns:a16="http://schemas.microsoft.com/office/drawing/2014/main" id="{5DBC2054-F963-4677-99F1-879650351E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507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1135969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24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=""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=""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=""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Текст 7">
            <a:extLst>
              <a:ext uri="{FF2B5EF4-FFF2-40B4-BE49-F238E27FC236}">
                <a16:creationId xmlns="" xmlns:a16="http://schemas.microsoft.com/office/drawing/2014/main" id="{14AC8473-DC52-4682-9125-F289525645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654090" y="3748941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29">
            <a:extLst>
              <a:ext uri="{FF2B5EF4-FFF2-40B4-BE49-F238E27FC236}">
                <a16:creationId xmlns="" xmlns:a16="http://schemas.microsoft.com/office/drawing/2014/main" id="{9536E757-1428-4F48-9977-2B3C7B4EC31E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="" xmlns:a16="http://schemas.microsoft.com/office/drawing/2014/main" id="{B7B759CC-45EA-467F-B360-431A5419CC1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1" name="Rectangle 7">
            <a:extLst>
              <a:ext uri="{FF2B5EF4-FFF2-40B4-BE49-F238E27FC236}">
                <a16:creationId xmlns="" xmlns:a16="http://schemas.microsoft.com/office/drawing/2014/main" id="{3B36852D-4003-438D-8C8B-1A173D3D11FA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2" name="Rectangle 8">
            <a:extLst>
              <a:ext uri="{FF2B5EF4-FFF2-40B4-BE49-F238E27FC236}">
                <a16:creationId xmlns="" xmlns:a16="http://schemas.microsoft.com/office/drawing/2014/main" id="{5214C33E-BB31-4C61-BE42-FD08BEFBEA17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4" name="Rectangle 24">
            <a:extLst>
              <a:ext uri="{FF2B5EF4-FFF2-40B4-BE49-F238E27FC236}">
                <a16:creationId xmlns="" xmlns:a16="http://schemas.microsoft.com/office/drawing/2014/main" id="{0D4254B9-8D9B-4B89-AAF5-37CCAF6399DD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26" name="Graphic 10">
            <a:extLst>
              <a:ext uri="{FF2B5EF4-FFF2-40B4-BE49-F238E27FC236}">
                <a16:creationId xmlns="" xmlns:a16="http://schemas.microsoft.com/office/drawing/2014/main" id="{B426DFD2-C6B7-4EA0-8AB4-9B391E845E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0" name="Content Placeholder 9">
            <a:extLst>
              <a:ext uri="{FF2B5EF4-FFF2-40B4-BE49-F238E27FC236}">
                <a16:creationId xmlns="" xmlns:a16="http://schemas.microsoft.com/office/drawing/2014/main" id="{3B8BB995-B704-4FA7-AFA0-36BD21E04111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2962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="" xmlns:a16="http://schemas.microsoft.com/office/drawing/2014/main" id="{5395E407-B08C-4863-B1DA-5DA88CEDE699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4652962" y="4145433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0" name="Текст 5">
            <a:extLst>
              <a:ext uri="{FF2B5EF4-FFF2-40B4-BE49-F238E27FC236}">
                <a16:creationId xmlns="" xmlns:a16="http://schemas.microsoft.com/office/drawing/2014/main" id="{3281E04C-2FDD-4414-97B0-2E6EB0C1FD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507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4211910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=""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=""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=""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7">
            <a:extLst>
              <a:ext uri="{FF2B5EF4-FFF2-40B4-BE49-F238E27FC236}">
                <a16:creationId xmlns="" xmlns:a16="http://schemas.microsoft.com/office/drawing/2014/main" id="{1F5709B4-B572-42B4-A4C9-C38C35DFBA5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3748941"/>
            <a:ext cx="846641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21" name="Прямая соединительная линия 29">
            <a:extLst>
              <a:ext uri="{FF2B5EF4-FFF2-40B4-BE49-F238E27FC236}">
                <a16:creationId xmlns="" xmlns:a16="http://schemas.microsoft.com/office/drawing/2014/main" id="{9D3CEAC9-E893-41B0-A3B6-1118A689132C}"/>
              </a:ext>
            </a:extLst>
          </p:cNvPr>
          <p:cNvCxnSpPr>
            <a:cxnSpLocks/>
          </p:cNvCxnSpPr>
          <p:nvPr userDrawn="1"/>
        </p:nvCxnSpPr>
        <p:spPr>
          <a:xfrm>
            <a:off x="334681" y="4077398"/>
            <a:ext cx="84719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7">
            <a:extLst>
              <a:ext uri="{FF2B5EF4-FFF2-40B4-BE49-F238E27FC236}">
                <a16:creationId xmlns="" xmlns:a16="http://schemas.microsoft.com/office/drawing/2014/main" id="{181E987B-9F42-4173-B991-0AAAF3ECC97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0" y="6060358"/>
            <a:ext cx="8465344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pic>
        <p:nvPicPr>
          <p:cNvPr id="24" name="Graphic 10">
            <a:extLst>
              <a:ext uri="{FF2B5EF4-FFF2-40B4-BE49-F238E27FC236}">
                <a16:creationId xmlns="" xmlns:a16="http://schemas.microsoft.com/office/drawing/2014/main" id="{50286955-2002-458E-9363-C84077889D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9" name="Content Placeholder 9">
            <a:extLst>
              <a:ext uri="{FF2B5EF4-FFF2-40B4-BE49-F238E27FC236}">
                <a16:creationId xmlns="" xmlns:a16="http://schemas.microsoft.com/office/drawing/2014/main" id="{66055BD2-079E-4436-A9F3-8AAB6ADEE216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3900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="" xmlns:a16="http://schemas.microsoft.com/office/drawing/2014/main" id="{E4BF7492-8076-4DFE-B2FC-D7841CA0EE20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339266" y="4145330"/>
            <a:ext cx="8463600" cy="1731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19" name="Текст 5">
            <a:extLst>
              <a:ext uri="{FF2B5EF4-FFF2-40B4-BE49-F238E27FC236}">
                <a16:creationId xmlns="" xmlns:a16="http://schemas.microsoft.com/office/drawing/2014/main" id="{3BFFD794-0DB9-4D7C-AE48-57F067726C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2433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995791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=""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=""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=""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7">
            <a:extLst>
              <a:ext uri="{FF2B5EF4-FFF2-40B4-BE49-F238E27FC236}">
                <a16:creationId xmlns="" xmlns:a16="http://schemas.microsoft.com/office/drawing/2014/main" id="{1F5709B4-B572-42B4-A4C9-C38C35DFBA5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3748941"/>
            <a:ext cx="846641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21" name="Прямая соединительная линия 29">
            <a:extLst>
              <a:ext uri="{FF2B5EF4-FFF2-40B4-BE49-F238E27FC236}">
                <a16:creationId xmlns="" xmlns:a16="http://schemas.microsoft.com/office/drawing/2014/main" id="{9D3CEAC9-E893-41B0-A3B6-1118A689132C}"/>
              </a:ext>
            </a:extLst>
          </p:cNvPr>
          <p:cNvCxnSpPr>
            <a:cxnSpLocks/>
          </p:cNvCxnSpPr>
          <p:nvPr userDrawn="1"/>
        </p:nvCxnSpPr>
        <p:spPr>
          <a:xfrm>
            <a:off x="334681" y="4077398"/>
            <a:ext cx="84719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7">
            <a:extLst>
              <a:ext uri="{FF2B5EF4-FFF2-40B4-BE49-F238E27FC236}">
                <a16:creationId xmlns="" xmlns:a16="http://schemas.microsoft.com/office/drawing/2014/main" id="{181E987B-9F42-4173-B991-0AAAF3ECC97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0" y="6060358"/>
            <a:ext cx="8465344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4" name="Rectangle 7">
            <a:extLst>
              <a:ext uri="{FF2B5EF4-FFF2-40B4-BE49-F238E27FC236}">
                <a16:creationId xmlns="" xmlns:a16="http://schemas.microsoft.com/office/drawing/2014/main" id="{790B79CC-A158-4DF1-8E37-FA7E36DA4EC2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="" xmlns:a16="http://schemas.microsoft.com/office/drawing/2014/main" id="{8B430AC9-49FD-4234-AE9B-E899AFFA2C0F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="" xmlns:a16="http://schemas.microsoft.com/office/drawing/2014/main" id="{2BCFED25-DE04-4495-AE39-C4F13FD8205E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30" name="Graphic 10">
            <a:extLst>
              <a:ext uri="{FF2B5EF4-FFF2-40B4-BE49-F238E27FC236}">
                <a16:creationId xmlns="" xmlns:a16="http://schemas.microsoft.com/office/drawing/2014/main" id="{4876A3D2-DA31-4B00-894A-E53B20A4BE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3" name="Content Placeholder 9">
            <a:extLst>
              <a:ext uri="{FF2B5EF4-FFF2-40B4-BE49-F238E27FC236}">
                <a16:creationId xmlns="" xmlns:a16="http://schemas.microsoft.com/office/drawing/2014/main" id="{A008C521-22A8-41F1-8CD4-811CC6366C7A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3900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5" name="Content Placeholder 9">
            <a:extLst>
              <a:ext uri="{FF2B5EF4-FFF2-40B4-BE49-F238E27FC236}">
                <a16:creationId xmlns="" xmlns:a16="http://schemas.microsoft.com/office/drawing/2014/main" id="{184CBF46-CDAF-4CBF-BEC8-30559ACBF6DA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339266" y="4145330"/>
            <a:ext cx="8463600" cy="1731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0" name="Текст 5">
            <a:extLst>
              <a:ext uri="{FF2B5EF4-FFF2-40B4-BE49-F238E27FC236}">
                <a16:creationId xmlns="" xmlns:a16="http://schemas.microsoft.com/office/drawing/2014/main" id="{A2DA7E17-6689-4AF6-B65F-4388E16E01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2433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0962201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_Титул (Челове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2">
            <a:extLst>
              <a:ext uri="{FF2B5EF4-FFF2-40B4-BE49-F238E27FC236}">
                <a16:creationId xmlns="" xmlns:a16="http://schemas.microsoft.com/office/drawing/2014/main" id="{5693BCAD-21EE-42DF-A3BA-7E058C64B243}"/>
              </a:ext>
            </a:extLst>
          </p:cNvPr>
          <p:cNvSpPr/>
          <p:nvPr userDrawn="1"/>
        </p:nvSpPr>
        <p:spPr>
          <a:xfrm>
            <a:off x="8227817" y="0"/>
            <a:ext cx="916185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3F00A39C-E6E6-4160-8393-6FAC9E5808D9}"/>
              </a:ext>
            </a:extLst>
          </p:cNvPr>
          <p:cNvSpPr/>
          <p:nvPr userDrawn="1"/>
        </p:nvSpPr>
        <p:spPr>
          <a:xfrm flipH="1" flipV="1">
            <a:off x="1714502" y="5257800"/>
            <a:ext cx="6513315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660A9704-48A9-44F8-B5C9-94AA2476859D}"/>
              </a:ext>
            </a:extLst>
          </p:cNvPr>
          <p:cNvSpPr/>
          <p:nvPr userDrawn="1"/>
        </p:nvSpPr>
        <p:spPr>
          <a:xfrm flipH="1" flipV="1">
            <a:off x="0" y="6411912"/>
            <a:ext cx="1714500" cy="446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39" name="Graphic 22">
            <a:extLst>
              <a:ext uri="{FF2B5EF4-FFF2-40B4-BE49-F238E27FC236}">
                <a16:creationId xmlns="" xmlns:a16="http://schemas.microsoft.com/office/drawing/2014/main" id="{FEA41963-1AF0-485F-B6C7-B5D2766EDB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40" name="Title 1">
            <a:extLst>
              <a:ext uri="{FF2B5EF4-FFF2-40B4-BE49-F238E27FC236}">
                <a16:creationId xmlns="" xmlns:a16="http://schemas.microsoft.com/office/drawing/2014/main" id="{B871A7BE-6EC6-413A-9DBD-0BD54CFA8B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5087093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41" name="Subtitle 2">
            <a:extLst>
              <a:ext uri="{FF2B5EF4-FFF2-40B4-BE49-F238E27FC236}">
                <a16:creationId xmlns="" xmlns:a16="http://schemas.microsoft.com/office/drawing/2014/main" id="{8574F1E2-480D-461E-8F83-B25F6A0432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5087093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grpSp>
        <p:nvGrpSpPr>
          <p:cNvPr id="44" name="Graphic 21">
            <a:extLst>
              <a:ext uri="{FF2B5EF4-FFF2-40B4-BE49-F238E27FC236}">
                <a16:creationId xmlns="" xmlns:a16="http://schemas.microsoft.com/office/drawing/2014/main" id="{D110CE65-6F2A-4A8E-BF4B-394BC0EA6450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="" xmlns:a16="http://schemas.microsoft.com/office/drawing/2014/main" id="{3128E35E-A40C-4439-BEBD-02283C7CC55E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="" xmlns:a16="http://schemas.microsoft.com/office/drawing/2014/main" id="{4C1ED555-7675-4551-BA68-7EB2D20CA838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7" name="Graphic 20">
            <a:extLst>
              <a:ext uri="{FF2B5EF4-FFF2-40B4-BE49-F238E27FC236}">
                <a16:creationId xmlns="" xmlns:a16="http://schemas.microsoft.com/office/drawing/2014/main" id="{48B1993E-CB05-4648-90DC-B99584B8046C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8" name="Полилиния: фигура 47">
              <a:extLst>
                <a:ext uri="{FF2B5EF4-FFF2-40B4-BE49-F238E27FC236}">
                  <a16:creationId xmlns="" xmlns:a16="http://schemas.microsoft.com/office/drawing/2014/main" id="{681F99C9-424A-4659-9F4B-91A0D726037B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="" xmlns:a16="http://schemas.microsoft.com/office/drawing/2014/main" id="{47457EBF-8B85-47E9-892E-6282DBCFD0C8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="" xmlns:a16="http://schemas.microsoft.com/office/drawing/2014/main" id="{97DD9B63-6685-451F-9042-75AAD9D8B919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="" xmlns:a16="http://schemas.microsoft.com/office/drawing/2014/main" id="{64E2278B-D8E0-4A15-94C4-C8A3D2D19FC2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="" xmlns:a16="http://schemas.microsoft.com/office/drawing/2014/main" id="{00391A6C-D4ED-423D-951B-EF197D614D99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="" xmlns:a16="http://schemas.microsoft.com/office/drawing/2014/main" id="{B8170D38-FA0C-431D-A9AF-BFBD670AB3D3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="" xmlns:a16="http://schemas.microsoft.com/office/drawing/2014/main" id="{B33E109B-129F-40FB-A85C-9DF0DD710D3E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4E6B5719-BBC8-4FE2-BA85-B0DA5DE685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22DE3BF4-2CCF-4FCE-B833-01B5A9FA41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  <p:pic>
        <p:nvPicPr>
          <p:cNvPr id="4" name="Picture 16">
            <a:extLst>
              <a:ext uri="{FF2B5EF4-FFF2-40B4-BE49-F238E27FC236}">
                <a16:creationId xmlns="" xmlns:a16="http://schemas.microsoft.com/office/drawing/2014/main" id="{33E16D34-292E-423F-A6BD-595055E7CC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48" r="-155"/>
          <a:stretch/>
        </p:blipFill>
        <p:spPr>
          <a:xfrm>
            <a:off x="3938257" y="2518670"/>
            <a:ext cx="4354713" cy="3882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3751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9">
            <a:extLst>
              <a:ext uri="{FF2B5EF4-FFF2-40B4-BE49-F238E27FC236}">
                <a16:creationId xmlns="" xmlns:a16="http://schemas.microsoft.com/office/drawing/2014/main" id="{2C58131F-47E0-43C1-9E24-4D52922F81F0}"/>
              </a:ext>
            </a:extLst>
          </p:cNvPr>
          <p:cNvSpPr>
            <a:spLocks noGrp="1"/>
          </p:cNvSpPr>
          <p:nvPr>
            <p:ph sz="quarter" idx="78" hasCustomPrompt="1"/>
          </p:nvPr>
        </p:nvSpPr>
        <p:spPr>
          <a:xfrm>
            <a:off x="334681" y="3142689"/>
            <a:ext cx="4147200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7">
            <a:extLst>
              <a:ext uri="{FF2B5EF4-FFF2-40B4-BE49-F238E27FC236}">
                <a16:creationId xmlns="" xmlns:a16="http://schemas.microsoft.com/office/drawing/2014/main" id="{2215EE83-4FE2-47E3-BC22-137DD018D9C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7" name="Текст 7">
            <a:extLst>
              <a:ext uri="{FF2B5EF4-FFF2-40B4-BE49-F238E27FC236}">
                <a16:creationId xmlns="" xmlns:a16="http://schemas.microsoft.com/office/drawing/2014/main" id="{1AB39D39-C605-45F7-B53A-85B40586F61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54094" y="2744795"/>
            <a:ext cx="4147009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="" xmlns:a16="http://schemas.microsoft.com/office/drawing/2014/main" id="{7FFEF65A-D7B7-48A0-8EA0-D8F75EC973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606035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="" xmlns:a16="http://schemas.microsoft.com/office/drawing/2014/main" id="{D8B8E1E1-D6FF-47E0-8CEF-3D3CA1580D8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5760" y="2744795"/>
            <a:ext cx="4155281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=""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335757" y="3068487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="" xmlns:a16="http://schemas.microsoft.com/office/drawing/2014/main" id="{00ACF3FF-F21E-4C8C-9C9D-4D615698B96C}"/>
              </a:ext>
            </a:extLst>
          </p:cNvPr>
          <p:cNvCxnSpPr>
            <a:cxnSpLocks/>
          </p:cNvCxnSpPr>
          <p:nvPr userDrawn="1"/>
        </p:nvCxnSpPr>
        <p:spPr>
          <a:xfrm>
            <a:off x="4654886" y="3068487"/>
            <a:ext cx="4141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6C5CCADD-AF30-4903-A2D8-FD3F61874A2D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0FDA05D0-B4A7-4B47-8D23-4F6943C09363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phic 10">
            <a:extLst>
              <a:ext uri="{FF2B5EF4-FFF2-40B4-BE49-F238E27FC236}">
                <a16:creationId xmlns="" xmlns:a16="http://schemas.microsoft.com/office/drawing/2014/main" id="{471EDE80-09AB-46BD-BA3F-126C9595B9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6" name="Content Placeholder 9">
            <a:extLst>
              <a:ext uri="{FF2B5EF4-FFF2-40B4-BE49-F238E27FC236}">
                <a16:creationId xmlns="" xmlns:a16="http://schemas.microsoft.com/office/drawing/2014/main" id="{4C41CEFA-C769-4E0A-96A3-B79DF3A2B0CC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4094" y="3142689"/>
            <a:ext cx="4147200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19" name="Текст 5">
            <a:extLst>
              <a:ext uri="{FF2B5EF4-FFF2-40B4-BE49-F238E27FC236}">
                <a16:creationId xmlns="" xmlns:a16="http://schemas.microsoft.com/office/drawing/2014/main" id="{57862D06-1A0B-4391-9517-0C7A30C635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747883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57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1933" userDrawn="1">
          <p15:clr>
            <a:srgbClr val="FBAE40"/>
          </p15:clr>
        </p15:guide>
        <p15:guide id="8" orient="horz" pos="3702" userDrawn="1">
          <p15:clr>
            <a:srgbClr val="FBAE40"/>
          </p15:clr>
        </p15:guide>
        <p15:guide id="9" orient="horz" pos="197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27" name="Текст 7">
            <a:extLst>
              <a:ext uri="{FF2B5EF4-FFF2-40B4-BE49-F238E27FC236}">
                <a16:creationId xmlns="" xmlns:a16="http://schemas.microsoft.com/office/drawing/2014/main" id="{1AB39D39-C605-45F7-B53A-85B40586F61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54094" y="2744795"/>
            <a:ext cx="4147009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2" name="Текст 7">
            <a:extLst>
              <a:ext uri="{FF2B5EF4-FFF2-40B4-BE49-F238E27FC236}">
                <a16:creationId xmlns="" xmlns:a16="http://schemas.microsoft.com/office/drawing/2014/main" id="{D8B8E1E1-D6FF-47E0-8CEF-3D3CA1580D8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5760" y="2744795"/>
            <a:ext cx="4155281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=""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335757" y="3068487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="" xmlns:a16="http://schemas.microsoft.com/office/drawing/2014/main" id="{00ACF3FF-F21E-4C8C-9C9D-4D615698B96C}"/>
              </a:ext>
            </a:extLst>
          </p:cNvPr>
          <p:cNvCxnSpPr>
            <a:cxnSpLocks/>
          </p:cNvCxnSpPr>
          <p:nvPr userDrawn="1"/>
        </p:nvCxnSpPr>
        <p:spPr>
          <a:xfrm>
            <a:off x="4654886" y="3068487"/>
            <a:ext cx="4141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6C5CCADD-AF30-4903-A2D8-FD3F61874A2D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7">
            <a:extLst>
              <a:ext uri="{FF2B5EF4-FFF2-40B4-BE49-F238E27FC236}">
                <a16:creationId xmlns="" xmlns:a16="http://schemas.microsoft.com/office/drawing/2014/main" id="{4A045B0F-E364-43A7-BE32-2DD9B0D4DF6A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1" name="Rectangle 8">
            <a:extLst>
              <a:ext uri="{FF2B5EF4-FFF2-40B4-BE49-F238E27FC236}">
                <a16:creationId xmlns="" xmlns:a16="http://schemas.microsoft.com/office/drawing/2014/main" id="{B6C8AAB4-25A0-4058-9D83-BA63FDE06FAB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2" name="Rectangle 24">
            <a:extLst>
              <a:ext uri="{FF2B5EF4-FFF2-40B4-BE49-F238E27FC236}">
                <a16:creationId xmlns="" xmlns:a16="http://schemas.microsoft.com/office/drawing/2014/main" id="{B32F8EEA-05BE-4AD0-91A5-FA4DCFD2C3A0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29" name="Graphic 10">
            <a:extLst>
              <a:ext uri="{FF2B5EF4-FFF2-40B4-BE49-F238E27FC236}">
                <a16:creationId xmlns="" xmlns:a16="http://schemas.microsoft.com/office/drawing/2014/main" id="{14852EA1-A240-45E0-BC9A-14AF918A26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0" name="Footer Placeholder 2">
            <a:extLst>
              <a:ext uri="{FF2B5EF4-FFF2-40B4-BE49-F238E27FC236}">
                <a16:creationId xmlns="" xmlns:a16="http://schemas.microsoft.com/office/drawing/2014/main" id="{183D4E4F-D9AD-4CE9-B185-14635D3ACEC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33" name="Slide Number Placeholder 3">
            <a:extLst>
              <a:ext uri="{FF2B5EF4-FFF2-40B4-BE49-F238E27FC236}">
                <a16:creationId xmlns="" xmlns:a16="http://schemas.microsoft.com/office/drawing/2014/main" id="{59833475-0E12-43B3-83F0-2575802464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Text Placeholder 7">
            <a:extLst>
              <a:ext uri="{FF2B5EF4-FFF2-40B4-BE49-F238E27FC236}">
                <a16:creationId xmlns="" xmlns:a16="http://schemas.microsoft.com/office/drawing/2014/main" id="{2EC7A8C4-C277-404E-AD43-2E63353DA0E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7" name="Text Placeholder 7">
            <a:extLst>
              <a:ext uri="{FF2B5EF4-FFF2-40B4-BE49-F238E27FC236}">
                <a16:creationId xmlns="" xmlns:a16="http://schemas.microsoft.com/office/drawing/2014/main" id="{6A8AE5FF-FFEB-495E-AD30-B6C6123F2C8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606035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cxnSp>
        <p:nvCxnSpPr>
          <p:cNvPr id="38" name="Straight Connector 17">
            <a:extLst>
              <a:ext uri="{FF2B5EF4-FFF2-40B4-BE49-F238E27FC236}">
                <a16:creationId xmlns="" xmlns:a16="http://schemas.microsoft.com/office/drawing/2014/main" id="{E1470081-3520-4CA2-8E08-5C6AABDC0C52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9">
            <a:extLst>
              <a:ext uri="{FF2B5EF4-FFF2-40B4-BE49-F238E27FC236}">
                <a16:creationId xmlns="" xmlns:a16="http://schemas.microsoft.com/office/drawing/2014/main" id="{3B8D79B9-604B-488D-ABFA-F1808BA7BD40}"/>
              </a:ext>
            </a:extLst>
          </p:cNvPr>
          <p:cNvSpPr>
            <a:spLocks noGrp="1"/>
          </p:cNvSpPr>
          <p:nvPr>
            <p:ph sz="quarter" idx="78" hasCustomPrompt="1"/>
          </p:nvPr>
        </p:nvSpPr>
        <p:spPr>
          <a:xfrm>
            <a:off x="334681" y="3142689"/>
            <a:ext cx="4147200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="" xmlns:a16="http://schemas.microsoft.com/office/drawing/2014/main" id="{8F01B9BC-F24D-432E-8262-37648B81D97C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4094" y="3142689"/>
            <a:ext cx="4147200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4" name="Текст 5">
            <a:extLst>
              <a:ext uri="{FF2B5EF4-FFF2-40B4-BE49-F238E27FC236}">
                <a16:creationId xmlns="" xmlns:a16="http://schemas.microsoft.com/office/drawing/2014/main" id="{2BDFD8F1-FB8D-4A7E-9E8A-7C4CFCDA8D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029485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57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1933" userDrawn="1">
          <p15:clr>
            <a:srgbClr val="FBAE40"/>
          </p15:clr>
        </p15:guide>
        <p15:guide id="8" orient="horz" pos="3702" userDrawn="1">
          <p15:clr>
            <a:srgbClr val="FBAE40"/>
          </p15:clr>
        </p15:guide>
        <p15:guide id="9" orient="horz" pos="197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=""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=""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=""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Текст 7">
            <a:extLst>
              <a:ext uri="{FF2B5EF4-FFF2-40B4-BE49-F238E27FC236}">
                <a16:creationId xmlns="" xmlns:a16="http://schemas.microsoft.com/office/drawing/2014/main" id="{3E9C143F-5798-4345-96A4-C46D1507403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3748941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8" name="Прямая соединительная линия 29">
            <a:extLst>
              <a:ext uri="{FF2B5EF4-FFF2-40B4-BE49-F238E27FC236}">
                <a16:creationId xmlns="" xmlns:a16="http://schemas.microsoft.com/office/drawing/2014/main" id="{E5DD1AC9-4981-440D-A2C0-B43C9B770748}"/>
              </a:ext>
            </a:extLst>
          </p:cNvPr>
          <p:cNvCxnSpPr>
            <a:cxnSpLocks/>
          </p:cNvCxnSpPr>
          <p:nvPr userDrawn="1"/>
        </p:nvCxnSpPr>
        <p:spPr>
          <a:xfrm>
            <a:off x="33468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Текст 7">
            <a:extLst>
              <a:ext uri="{FF2B5EF4-FFF2-40B4-BE49-F238E27FC236}">
                <a16:creationId xmlns="" xmlns:a16="http://schemas.microsoft.com/office/drawing/2014/main" id="{14AC8473-DC52-4682-9125-F289525645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654090" y="3748941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29">
            <a:extLst>
              <a:ext uri="{FF2B5EF4-FFF2-40B4-BE49-F238E27FC236}">
                <a16:creationId xmlns="" xmlns:a16="http://schemas.microsoft.com/office/drawing/2014/main" id="{9536E757-1428-4F48-9977-2B3C7B4EC31E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ooter Placeholder 2">
            <a:extLst>
              <a:ext uri="{FF2B5EF4-FFF2-40B4-BE49-F238E27FC236}">
                <a16:creationId xmlns="" xmlns:a16="http://schemas.microsoft.com/office/drawing/2014/main" id="{04361825-AC17-415E-998A-F5BD2289D2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35" name="Slide Number Placeholder 3">
            <a:extLst>
              <a:ext uri="{FF2B5EF4-FFF2-40B4-BE49-F238E27FC236}">
                <a16:creationId xmlns="" xmlns:a16="http://schemas.microsoft.com/office/drawing/2014/main" id="{72BCCAD3-00A8-464D-95A5-CE0BF19A5C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7" name="Text Placeholder 7">
            <a:extLst>
              <a:ext uri="{FF2B5EF4-FFF2-40B4-BE49-F238E27FC236}">
                <a16:creationId xmlns="" xmlns:a16="http://schemas.microsoft.com/office/drawing/2014/main" id="{D7CFF5D7-DE07-42B6-84FB-45D1DF2BB4F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9" name="Text Placeholder 7">
            <a:extLst>
              <a:ext uri="{FF2B5EF4-FFF2-40B4-BE49-F238E27FC236}">
                <a16:creationId xmlns="" xmlns:a16="http://schemas.microsoft.com/office/drawing/2014/main" id="{EBEA5249-AF25-42F0-B78A-A8616268CA5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606035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cxnSp>
        <p:nvCxnSpPr>
          <p:cNvPr id="41" name="Straight Connector 17">
            <a:extLst>
              <a:ext uri="{FF2B5EF4-FFF2-40B4-BE49-F238E27FC236}">
                <a16:creationId xmlns="" xmlns:a16="http://schemas.microsoft.com/office/drawing/2014/main" id="{81BD90BA-8C6F-47B9-8133-0F03E69FC62B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Graphic 10">
            <a:extLst>
              <a:ext uri="{FF2B5EF4-FFF2-40B4-BE49-F238E27FC236}">
                <a16:creationId xmlns="" xmlns:a16="http://schemas.microsoft.com/office/drawing/2014/main" id="{1BD1FEF3-4670-431D-A567-10D261065F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6" name="Content Placeholder 9">
            <a:extLst>
              <a:ext uri="{FF2B5EF4-FFF2-40B4-BE49-F238E27FC236}">
                <a16:creationId xmlns="" xmlns:a16="http://schemas.microsoft.com/office/drawing/2014/main" id="{DF099A76-7739-472F-BB93-7584EA00EE57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4652962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9" name="Content Placeholder 9">
            <a:extLst>
              <a:ext uri="{FF2B5EF4-FFF2-40B4-BE49-F238E27FC236}">
                <a16:creationId xmlns="" xmlns:a16="http://schemas.microsoft.com/office/drawing/2014/main" id="{7EDEE6ED-1C25-4399-AB54-187E308DB8E5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334681" y="414326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0" name="Content Placeholder 9">
            <a:extLst>
              <a:ext uri="{FF2B5EF4-FFF2-40B4-BE49-F238E27FC236}">
                <a16:creationId xmlns="" xmlns:a16="http://schemas.microsoft.com/office/drawing/2014/main" id="{46F7673C-6ED0-4BBF-BBF9-F86B7B8DB1DA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4652962" y="414326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1" name="Текст 5">
            <a:extLst>
              <a:ext uri="{FF2B5EF4-FFF2-40B4-BE49-F238E27FC236}">
                <a16:creationId xmlns="" xmlns:a16="http://schemas.microsoft.com/office/drawing/2014/main" id="{D13B227A-2F5A-41B0-842D-323BDF918F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2433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5153699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Текст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=""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=""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=""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Текст 7">
            <a:extLst>
              <a:ext uri="{FF2B5EF4-FFF2-40B4-BE49-F238E27FC236}">
                <a16:creationId xmlns="" xmlns:a16="http://schemas.microsoft.com/office/drawing/2014/main" id="{3E9C143F-5798-4345-96A4-C46D1507403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3748941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8" name="Прямая соединительная линия 29">
            <a:extLst>
              <a:ext uri="{FF2B5EF4-FFF2-40B4-BE49-F238E27FC236}">
                <a16:creationId xmlns="" xmlns:a16="http://schemas.microsoft.com/office/drawing/2014/main" id="{E5DD1AC9-4981-440D-A2C0-B43C9B770748}"/>
              </a:ext>
            </a:extLst>
          </p:cNvPr>
          <p:cNvCxnSpPr>
            <a:cxnSpLocks/>
          </p:cNvCxnSpPr>
          <p:nvPr userDrawn="1"/>
        </p:nvCxnSpPr>
        <p:spPr>
          <a:xfrm>
            <a:off x="33468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Текст 7">
            <a:extLst>
              <a:ext uri="{FF2B5EF4-FFF2-40B4-BE49-F238E27FC236}">
                <a16:creationId xmlns="" xmlns:a16="http://schemas.microsoft.com/office/drawing/2014/main" id="{14AC8473-DC52-4682-9125-F289525645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654090" y="3748941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29">
            <a:extLst>
              <a:ext uri="{FF2B5EF4-FFF2-40B4-BE49-F238E27FC236}">
                <a16:creationId xmlns="" xmlns:a16="http://schemas.microsoft.com/office/drawing/2014/main" id="{9536E757-1428-4F48-9977-2B3C7B4EC31E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7">
            <a:extLst>
              <a:ext uri="{FF2B5EF4-FFF2-40B4-BE49-F238E27FC236}">
                <a16:creationId xmlns="" xmlns:a16="http://schemas.microsoft.com/office/drawing/2014/main" id="{3D47C925-DAF3-4081-9755-BB615CDF870A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="" xmlns:a16="http://schemas.microsoft.com/office/drawing/2014/main" id="{2E8B0CC6-4933-4AF3-A98E-95743E485B12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="" xmlns:a16="http://schemas.microsoft.com/office/drawing/2014/main" id="{336A2DC3-2986-44FC-913F-5907E0B029D7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35" name="Graphic 10">
            <a:extLst>
              <a:ext uri="{FF2B5EF4-FFF2-40B4-BE49-F238E27FC236}">
                <a16:creationId xmlns="" xmlns:a16="http://schemas.microsoft.com/office/drawing/2014/main" id="{56088FF0-5F0D-4AE0-BFC5-570C343DC3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7" name="Text Placeholder 7">
            <a:extLst>
              <a:ext uri="{FF2B5EF4-FFF2-40B4-BE49-F238E27FC236}">
                <a16:creationId xmlns="" xmlns:a16="http://schemas.microsoft.com/office/drawing/2014/main" id="{39D57ABF-721A-44CF-A6E8-6C06219A998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9" name="Text Placeholder 7">
            <a:extLst>
              <a:ext uri="{FF2B5EF4-FFF2-40B4-BE49-F238E27FC236}">
                <a16:creationId xmlns="" xmlns:a16="http://schemas.microsoft.com/office/drawing/2014/main" id="{E07A5378-E34C-463D-91E2-2A5F77C17FB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606035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1" name="Content Placeholder 9">
            <a:extLst>
              <a:ext uri="{FF2B5EF4-FFF2-40B4-BE49-F238E27FC236}">
                <a16:creationId xmlns="" xmlns:a16="http://schemas.microsoft.com/office/drawing/2014/main" id="{0C53C9B4-0B7F-479C-BF82-E2A706A4A52A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4652962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43" name="Content Placeholder 9">
            <a:extLst>
              <a:ext uri="{FF2B5EF4-FFF2-40B4-BE49-F238E27FC236}">
                <a16:creationId xmlns="" xmlns:a16="http://schemas.microsoft.com/office/drawing/2014/main" id="{D067CE73-75ED-47A8-8097-6EE0AF84A1CE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334681" y="414326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44" name="Content Placeholder 9">
            <a:extLst>
              <a:ext uri="{FF2B5EF4-FFF2-40B4-BE49-F238E27FC236}">
                <a16:creationId xmlns="" xmlns:a16="http://schemas.microsoft.com/office/drawing/2014/main" id="{E5D1D89A-6AB7-46AC-AC50-C64E615DB6A2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4652962" y="414326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7" name="Текст 5">
            <a:extLst>
              <a:ext uri="{FF2B5EF4-FFF2-40B4-BE49-F238E27FC236}">
                <a16:creationId xmlns="" xmlns:a16="http://schemas.microsoft.com/office/drawing/2014/main" id="{F754A5F6-454A-4534-984C-A359385F5B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2433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9831944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_Текст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7">
            <a:extLst>
              <a:ext uri="{FF2B5EF4-FFF2-40B4-BE49-F238E27FC236}">
                <a16:creationId xmlns="" xmlns:a16="http://schemas.microsoft.com/office/drawing/2014/main" id="{5EE94929-948E-4C1A-AD64-75C36D106DA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6" name="Текст 7">
            <a:extLst>
              <a:ext uri="{FF2B5EF4-FFF2-40B4-BE49-F238E27FC236}">
                <a16:creationId xmlns="" xmlns:a16="http://schemas.microsoft.com/office/drawing/2014/main" id="{7E143F1F-684C-4FEE-9CCA-22E00F19851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35758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="" xmlns:a16="http://schemas.microsoft.com/office/drawing/2014/main" id="{B7DEB2B1-3036-407F-8DA4-C9C84A67427B}"/>
              </a:ext>
            </a:extLst>
          </p:cNvPr>
          <p:cNvCxnSpPr>
            <a:cxnSpLocks/>
          </p:cNvCxnSpPr>
          <p:nvPr userDrawn="1"/>
        </p:nvCxnSpPr>
        <p:spPr>
          <a:xfrm>
            <a:off x="335760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7">
            <a:extLst>
              <a:ext uri="{FF2B5EF4-FFF2-40B4-BE49-F238E27FC236}">
                <a16:creationId xmlns="" xmlns:a16="http://schemas.microsoft.com/office/drawing/2014/main" id="{C06C286A-EDF4-43C0-8BC8-CF3A94C0569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22325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0" name="Текст 7">
            <a:extLst>
              <a:ext uri="{FF2B5EF4-FFF2-40B4-BE49-F238E27FC236}">
                <a16:creationId xmlns="" xmlns:a16="http://schemas.microsoft.com/office/drawing/2014/main" id="{27749A45-DF58-4FD5-AC52-E3890054356D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224329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="" xmlns:a16="http://schemas.microsoft.com/office/drawing/2014/main" id="{CDF85D56-7C03-4A4B-84CD-6A566BC7AB04}"/>
              </a:ext>
            </a:extLst>
          </p:cNvPr>
          <p:cNvCxnSpPr>
            <a:cxnSpLocks/>
          </p:cNvCxnSpPr>
          <p:nvPr userDrawn="1"/>
        </p:nvCxnSpPr>
        <p:spPr>
          <a:xfrm>
            <a:off x="3224329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="" xmlns:a16="http://schemas.microsoft.com/office/drawing/2014/main" id="{D443F0F4-09A0-45F1-B109-8177B7230BA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11478" y="6060358"/>
            <a:ext cx="268899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4" name="Текст 7">
            <a:extLst>
              <a:ext uri="{FF2B5EF4-FFF2-40B4-BE49-F238E27FC236}">
                <a16:creationId xmlns="" xmlns:a16="http://schemas.microsoft.com/office/drawing/2014/main" id="{AC295CD9-C765-4A02-AC1A-EB509A4B4F0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12557" y="2747019"/>
            <a:ext cx="268962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="" xmlns:a16="http://schemas.microsoft.com/office/drawing/2014/main" id="{46F7D1A3-7E2B-44E6-A28C-1E658A367D29}"/>
              </a:ext>
            </a:extLst>
          </p:cNvPr>
          <p:cNvCxnSpPr>
            <a:cxnSpLocks/>
          </p:cNvCxnSpPr>
          <p:nvPr userDrawn="1"/>
        </p:nvCxnSpPr>
        <p:spPr>
          <a:xfrm>
            <a:off x="6112558" y="3068487"/>
            <a:ext cx="26913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="" xmlns:a16="http://schemas.microsoft.com/office/drawing/2014/main" id="{62E36F7A-58DA-4894-BA7B-C6FC36E6297F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="" xmlns:a16="http://schemas.microsoft.com/office/drawing/2014/main" id="{C47ECC46-9784-43F1-A7E9-662229B054BF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phic 10">
            <a:extLst>
              <a:ext uri="{FF2B5EF4-FFF2-40B4-BE49-F238E27FC236}">
                <a16:creationId xmlns="" xmlns:a16="http://schemas.microsoft.com/office/drawing/2014/main" id="{9F0FE9DB-476D-4F9F-874F-C741FE28D7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0" name="Content Placeholder 9">
            <a:extLst>
              <a:ext uri="{FF2B5EF4-FFF2-40B4-BE49-F238E27FC236}">
                <a16:creationId xmlns="" xmlns:a16="http://schemas.microsoft.com/office/drawing/2014/main" id="{E9D48023-9C7E-4E98-9A8F-DC4CF0D80C13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334681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="" xmlns:a16="http://schemas.microsoft.com/office/drawing/2014/main" id="{D2C9B551-C832-4E8E-AE0D-B8D45C61BBDF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3224329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2" name="Content Placeholder 9">
            <a:extLst>
              <a:ext uri="{FF2B5EF4-FFF2-40B4-BE49-F238E27FC236}">
                <a16:creationId xmlns="" xmlns:a16="http://schemas.microsoft.com/office/drawing/2014/main" id="{0DBF64BA-1448-4D58-90B2-C895F28EAA01}"/>
              </a:ext>
            </a:extLst>
          </p:cNvPr>
          <p:cNvSpPr>
            <a:spLocks noGrp="1"/>
          </p:cNvSpPr>
          <p:nvPr>
            <p:ph sz="quarter" idx="83" hasCustomPrompt="1"/>
          </p:nvPr>
        </p:nvSpPr>
        <p:spPr>
          <a:xfrm>
            <a:off x="6112557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3" name="Текст 5">
            <a:extLst>
              <a:ext uri="{FF2B5EF4-FFF2-40B4-BE49-F238E27FC236}">
                <a16:creationId xmlns="" xmlns:a16="http://schemas.microsoft.com/office/drawing/2014/main" id="{6CCFDB93-DFD1-49F1-9ADE-D19BC25FAC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0440142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816" userDrawn="1">
          <p15:clr>
            <a:srgbClr val="FBAE40"/>
          </p15:clr>
        </p15:guide>
        <p15:guide id="2" pos="1910" userDrawn="1">
          <p15:clr>
            <a:srgbClr val="FBAE40"/>
          </p15:clr>
        </p15:guide>
        <p15:guide id="4" pos="3850" userDrawn="1">
          <p15:clr>
            <a:srgbClr val="FBAE40"/>
          </p15:clr>
        </p15:guide>
        <p15:guide id="5" pos="2030" userDrawn="1">
          <p15:clr>
            <a:srgbClr val="FBAE40"/>
          </p15:clr>
        </p15:guide>
        <p15:guide id="6" pos="3731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729" userDrawn="1">
          <p15:clr>
            <a:srgbClr val="FBAE40"/>
          </p15:clr>
        </p15:guide>
        <p15:guide id="10" orient="horz" pos="1933" userDrawn="1">
          <p15:clr>
            <a:srgbClr val="FBAE40"/>
          </p15:clr>
        </p15:guide>
        <p15:guide id="11" orient="horz" pos="3702" userDrawn="1">
          <p15:clr>
            <a:srgbClr val="FBAE40"/>
          </p15:clr>
        </p15:guide>
        <p15:guide id="12" orient="horz" pos="1979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_Текст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="" xmlns:a16="http://schemas.microsoft.com/office/drawing/2014/main" id="{62E36F7A-58DA-4894-BA7B-C6FC36E6297F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7">
            <a:extLst>
              <a:ext uri="{FF2B5EF4-FFF2-40B4-BE49-F238E27FC236}">
                <a16:creationId xmlns="" xmlns:a16="http://schemas.microsoft.com/office/drawing/2014/main" id="{2E5619FE-9068-4EA6-A70B-19A6751D466B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="" xmlns:a16="http://schemas.microsoft.com/office/drawing/2014/main" id="{F5D5EEA2-2D22-4101-B28A-A745325EB371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="" xmlns:a16="http://schemas.microsoft.com/office/drawing/2014/main" id="{C33B0CE7-35CB-427D-82FD-9FBA15C2C007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54" name="Footer Placeholder 2">
            <a:extLst>
              <a:ext uri="{FF2B5EF4-FFF2-40B4-BE49-F238E27FC236}">
                <a16:creationId xmlns="" xmlns:a16="http://schemas.microsoft.com/office/drawing/2014/main" id="{BC462E81-C961-43D0-A457-21EB49633A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55" name="Slide Number Placeholder 3">
            <a:extLst>
              <a:ext uri="{FF2B5EF4-FFF2-40B4-BE49-F238E27FC236}">
                <a16:creationId xmlns="" xmlns:a16="http://schemas.microsoft.com/office/drawing/2014/main" id="{8806FB00-1D60-4B77-AAF4-67E881D38B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6" name="Text Placeholder 7">
            <a:extLst>
              <a:ext uri="{FF2B5EF4-FFF2-40B4-BE49-F238E27FC236}">
                <a16:creationId xmlns="" xmlns:a16="http://schemas.microsoft.com/office/drawing/2014/main" id="{7E9BC5CB-97BE-4EB0-BAE9-48E06122357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57" name="Текст 7">
            <a:extLst>
              <a:ext uri="{FF2B5EF4-FFF2-40B4-BE49-F238E27FC236}">
                <a16:creationId xmlns="" xmlns:a16="http://schemas.microsoft.com/office/drawing/2014/main" id="{F65DA011-9943-4A37-BBD2-BAD4896DC9B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35758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="" xmlns:a16="http://schemas.microsoft.com/office/drawing/2014/main" id="{A0FFFF34-C5E9-4803-BDDD-6B03730FA73D}"/>
              </a:ext>
            </a:extLst>
          </p:cNvPr>
          <p:cNvCxnSpPr>
            <a:cxnSpLocks/>
          </p:cNvCxnSpPr>
          <p:nvPr userDrawn="1"/>
        </p:nvCxnSpPr>
        <p:spPr>
          <a:xfrm>
            <a:off x="335760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7">
            <a:extLst>
              <a:ext uri="{FF2B5EF4-FFF2-40B4-BE49-F238E27FC236}">
                <a16:creationId xmlns="" xmlns:a16="http://schemas.microsoft.com/office/drawing/2014/main" id="{0D900E3F-F68E-40BC-84F5-AEC574136EB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22325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60" name="Текст 7">
            <a:extLst>
              <a:ext uri="{FF2B5EF4-FFF2-40B4-BE49-F238E27FC236}">
                <a16:creationId xmlns="" xmlns:a16="http://schemas.microsoft.com/office/drawing/2014/main" id="{7B67C336-0E59-4D66-906D-ABA5415310B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224329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61" name="Прямая соединительная линия 60">
            <a:extLst>
              <a:ext uri="{FF2B5EF4-FFF2-40B4-BE49-F238E27FC236}">
                <a16:creationId xmlns="" xmlns:a16="http://schemas.microsoft.com/office/drawing/2014/main" id="{85198E0E-DA55-4A44-9532-C3DBE20F0767}"/>
              </a:ext>
            </a:extLst>
          </p:cNvPr>
          <p:cNvCxnSpPr>
            <a:cxnSpLocks/>
          </p:cNvCxnSpPr>
          <p:nvPr userDrawn="1"/>
        </p:nvCxnSpPr>
        <p:spPr>
          <a:xfrm>
            <a:off x="3224329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7">
            <a:extLst>
              <a:ext uri="{FF2B5EF4-FFF2-40B4-BE49-F238E27FC236}">
                <a16:creationId xmlns="" xmlns:a16="http://schemas.microsoft.com/office/drawing/2014/main" id="{47D110CB-CE84-46D5-B9C3-AA1FB796F92F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11478" y="6060358"/>
            <a:ext cx="268899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63" name="Текст 7">
            <a:extLst>
              <a:ext uri="{FF2B5EF4-FFF2-40B4-BE49-F238E27FC236}">
                <a16:creationId xmlns="" xmlns:a16="http://schemas.microsoft.com/office/drawing/2014/main" id="{10EC5CEB-13CE-463A-B7D2-20066560C896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12557" y="2747019"/>
            <a:ext cx="268962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64" name="Прямая соединительная линия 63">
            <a:extLst>
              <a:ext uri="{FF2B5EF4-FFF2-40B4-BE49-F238E27FC236}">
                <a16:creationId xmlns="" xmlns:a16="http://schemas.microsoft.com/office/drawing/2014/main" id="{7576A36B-AF82-41AE-9FAD-7156C711C436}"/>
              </a:ext>
            </a:extLst>
          </p:cNvPr>
          <p:cNvCxnSpPr>
            <a:cxnSpLocks/>
          </p:cNvCxnSpPr>
          <p:nvPr userDrawn="1"/>
        </p:nvCxnSpPr>
        <p:spPr>
          <a:xfrm>
            <a:off x="6112558" y="3068487"/>
            <a:ext cx="26913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21">
            <a:extLst>
              <a:ext uri="{FF2B5EF4-FFF2-40B4-BE49-F238E27FC236}">
                <a16:creationId xmlns="" xmlns:a16="http://schemas.microsoft.com/office/drawing/2014/main" id="{3895030F-22D6-47C9-B957-E0209FE6CCB2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" name="Graphic 10">
            <a:extLst>
              <a:ext uri="{FF2B5EF4-FFF2-40B4-BE49-F238E27FC236}">
                <a16:creationId xmlns="" xmlns:a16="http://schemas.microsoft.com/office/drawing/2014/main" id="{2C6039A9-94AD-4841-A846-D78F2ACE6B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3" name="Content Placeholder 9">
            <a:extLst>
              <a:ext uri="{FF2B5EF4-FFF2-40B4-BE49-F238E27FC236}">
                <a16:creationId xmlns="" xmlns:a16="http://schemas.microsoft.com/office/drawing/2014/main" id="{D2518C40-93EA-403B-B3BE-14ADB45FFBB6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334681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4" name="Content Placeholder 9">
            <a:extLst>
              <a:ext uri="{FF2B5EF4-FFF2-40B4-BE49-F238E27FC236}">
                <a16:creationId xmlns="" xmlns:a16="http://schemas.microsoft.com/office/drawing/2014/main" id="{AA35EF07-3574-46F4-A93E-3CD435595035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3224329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5" name="Content Placeholder 9">
            <a:extLst>
              <a:ext uri="{FF2B5EF4-FFF2-40B4-BE49-F238E27FC236}">
                <a16:creationId xmlns="" xmlns:a16="http://schemas.microsoft.com/office/drawing/2014/main" id="{75E3A54A-4758-46AC-B220-333A212DA13C}"/>
              </a:ext>
            </a:extLst>
          </p:cNvPr>
          <p:cNvSpPr>
            <a:spLocks noGrp="1"/>
          </p:cNvSpPr>
          <p:nvPr>
            <p:ph sz="quarter" idx="83" hasCustomPrompt="1"/>
          </p:nvPr>
        </p:nvSpPr>
        <p:spPr>
          <a:xfrm>
            <a:off x="6112557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7" name="Текст 5">
            <a:extLst>
              <a:ext uri="{FF2B5EF4-FFF2-40B4-BE49-F238E27FC236}">
                <a16:creationId xmlns="" xmlns:a16="http://schemas.microsoft.com/office/drawing/2014/main" id="{002326EF-E8B9-423E-9AC3-B6C3A1578F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8570700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816" userDrawn="1">
          <p15:clr>
            <a:srgbClr val="FBAE40"/>
          </p15:clr>
        </p15:guide>
        <p15:guide id="2" pos="1910" userDrawn="1">
          <p15:clr>
            <a:srgbClr val="FBAE40"/>
          </p15:clr>
        </p15:guide>
        <p15:guide id="4" pos="3850" userDrawn="1">
          <p15:clr>
            <a:srgbClr val="FBAE40"/>
          </p15:clr>
        </p15:guide>
        <p15:guide id="5" pos="2030" userDrawn="1">
          <p15:clr>
            <a:srgbClr val="FBAE40"/>
          </p15:clr>
        </p15:guide>
        <p15:guide id="6" pos="3731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729" userDrawn="1">
          <p15:clr>
            <a:srgbClr val="FBAE40"/>
          </p15:clr>
        </p15:guide>
        <p15:guide id="10" orient="horz" pos="1933" userDrawn="1">
          <p15:clr>
            <a:srgbClr val="FBAE40"/>
          </p15:clr>
        </p15:guide>
        <p15:guide id="11" orient="horz" pos="3702" userDrawn="1">
          <p15:clr>
            <a:srgbClr val="FBAE40"/>
          </p15:clr>
        </p15:guide>
        <p15:guide id="12" orient="horz" pos="1979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Диграмма/объект 4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7">
            <a:extLst>
              <a:ext uri="{FF2B5EF4-FFF2-40B4-BE49-F238E27FC236}">
                <a16:creationId xmlns="" xmlns:a16="http://schemas.microsoft.com/office/drawing/2014/main" id="{B8DA1140-EA6A-4B27-B06E-4513CC4C14C2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35758" y="3408651"/>
            <a:ext cx="415431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2" name="Текст 7">
            <a:extLst>
              <a:ext uri="{FF2B5EF4-FFF2-40B4-BE49-F238E27FC236}">
                <a16:creationId xmlns="" xmlns:a16="http://schemas.microsoft.com/office/drawing/2014/main" id="{9F32DFE0-B463-449A-BBAC-E901855AFA14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35759" y="1090936"/>
            <a:ext cx="415528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25" name="Прямая соединительная линия 29">
            <a:extLst>
              <a:ext uri="{FF2B5EF4-FFF2-40B4-BE49-F238E27FC236}">
                <a16:creationId xmlns="" xmlns:a16="http://schemas.microsoft.com/office/drawing/2014/main" id="{B9AE269F-7C17-4DC9-91F1-425D52DB8382}"/>
              </a:ext>
            </a:extLst>
          </p:cNvPr>
          <p:cNvCxnSpPr>
            <a:cxnSpLocks/>
          </p:cNvCxnSpPr>
          <p:nvPr userDrawn="1"/>
        </p:nvCxnSpPr>
        <p:spPr>
          <a:xfrm>
            <a:off x="335756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7">
            <a:extLst>
              <a:ext uri="{FF2B5EF4-FFF2-40B4-BE49-F238E27FC236}">
                <a16:creationId xmlns="" xmlns:a16="http://schemas.microsoft.com/office/drawing/2014/main" id="{35183B6B-9476-424C-9B10-712366C84FC7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7" name="Текст 7">
            <a:extLst>
              <a:ext uri="{FF2B5EF4-FFF2-40B4-BE49-F238E27FC236}">
                <a16:creationId xmlns="" xmlns:a16="http://schemas.microsoft.com/office/drawing/2014/main" id="{240B08CA-14F7-4D62-8A0E-F1FF95400E50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29" name="Прямая соединительная линия 29">
            <a:extLst>
              <a:ext uri="{FF2B5EF4-FFF2-40B4-BE49-F238E27FC236}">
                <a16:creationId xmlns="" xmlns:a16="http://schemas.microsoft.com/office/drawing/2014/main" id="{2DBDE890-4B10-4097-B882-6C93A42C0AF0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7">
            <a:extLst>
              <a:ext uri="{FF2B5EF4-FFF2-40B4-BE49-F238E27FC236}">
                <a16:creationId xmlns="" xmlns:a16="http://schemas.microsoft.com/office/drawing/2014/main" id="{35C5151F-CE33-4D7D-830F-271C552038F3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35758" y="6066126"/>
            <a:ext cx="415431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1" name="Текст 7">
            <a:extLst>
              <a:ext uri="{FF2B5EF4-FFF2-40B4-BE49-F238E27FC236}">
                <a16:creationId xmlns="" xmlns:a16="http://schemas.microsoft.com/office/drawing/2014/main" id="{679E4A5C-9D1E-4979-BC28-EAF79C960523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335759" y="3748410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9" name="Прямая соединительная линия 29">
            <a:extLst>
              <a:ext uri="{FF2B5EF4-FFF2-40B4-BE49-F238E27FC236}">
                <a16:creationId xmlns="" xmlns:a16="http://schemas.microsoft.com/office/drawing/2014/main" id="{0B0FBBDE-2819-4252-9535-905A6B7AA53F}"/>
              </a:ext>
            </a:extLst>
          </p:cNvPr>
          <p:cNvCxnSpPr>
            <a:cxnSpLocks/>
          </p:cNvCxnSpPr>
          <p:nvPr userDrawn="1"/>
        </p:nvCxnSpPr>
        <p:spPr>
          <a:xfrm>
            <a:off x="335756" y="4076865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 Placeholder 7">
            <a:extLst>
              <a:ext uri="{FF2B5EF4-FFF2-40B4-BE49-F238E27FC236}">
                <a16:creationId xmlns="" xmlns:a16="http://schemas.microsoft.com/office/drawing/2014/main" id="{FAC493A4-AC00-488B-9A69-94BAA9A80D24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4654091" y="6066126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6" name="Текст 7">
            <a:extLst>
              <a:ext uri="{FF2B5EF4-FFF2-40B4-BE49-F238E27FC236}">
                <a16:creationId xmlns="" xmlns:a16="http://schemas.microsoft.com/office/drawing/2014/main" id="{A284ED8D-E276-4E48-90F6-39EA5B581CEE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4654090" y="3748410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8" name="Прямая соединительная линия 29">
            <a:extLst>
              <a:ext uri="{FF2B5EF4-FFF2-40B4-BE49-F238E27FC236}">
                <a16:creationId xmlns="" xmlns:a16="http://schemas.microsoft.com/office/drawing/2014/main" id="{F424976D-D312-4D6F-B194-DB71F5D6259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6865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ontent Placeholder 9">
            <a:extLst>
              <a:ext uri="{FF2B5EF4-FFF2-40B4-BE49-F238E27FC236}">
                <a16:creationId xmlns="" xmlns:a16="http://schemas.microsoft.com/office/drawing/2014/main" id="{129D1BD7-C971-4269-B383-9D8434A96EF5}"/>
              </a:ext>
            </a:extLst>
          </p:cNvPr>
          <p:cNvSpPr>
            <a:spLocks noGrp="1"/>
          </p:cNvSpPr>
          <p:nvPr>
            <p:ph sz="quarter" idx="86" hasCustomPrompt="1"/>
          </p:nvPr>
        </p:nvSpPr>
        <p:spPr>
          <a:xfrm>
            <a:off x="335754" y="1487804"/>
            <a:ext cx="4155284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4" name="Content Placeholder 9">
            <a:extLst>
              <a:ext uri="{FF2B5EF4-FFF2-40B4-BE49-F238E27FC236}">
                <a16:creationId xmlns="" xmlns:a16="http://schemas.microsoft.com/office/drawing/2014/main" id="{BFBDFF5D-0DD4-49B2-ACBA-65861AD55659}"/>
              </a:ext>
            </a:extLst>
          </p:cNvPr>
          <p:cNvSpPr>
            <a:spLocks noGrp="1"/>
          </p:cNvSpPr>
          <p:nvPr>
            <p:ph sz="quarter" idx="87" hasCustomPrompt="1"/>
          </p:nvPr>
        </p:nvSpPr>
        <p:spPr>
          <a:xfrm>
            <a:off x="4653635" y="1487804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6" name="Content Placeholder 9">
            <a:extLst>
              <a:ext uri="{FF2B5EF4-FFF2-40B4-BE49-F238E27FC236}">
                <a16:creationId xmlns="" xmlns:a16="http://schemas.microsoft.com/office/drawing/2014/main" id="{B2A118E4-8211-44CD-978E-A45982F23877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335755" y="4145279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7" name="Content Placeholder 9">
            <a:extLst>
              <a:ext uri="{FF2B5EF4-FFF2-40B4-BE49-F238E27FC236}">
                <a16:creationId xmlns="" xmlns:a16="http://schemas.microsoft.com/office/drawing/2014/main" id="{AA13A831-375B-4637-92C6-F561E496289D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4653635" y="4145279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pic>
        <p:nvPicPr>
          <p:cNvPr id="28" name="Graphic 10">
            <a:extLst>
              <a:ext uri="{FF2B5EF4-FFF2-40B4-BE49-F238E27FC236}">
                <a16:creationId xmlns="" xmlns:a16="http://schemas.microsoft.com/office/drawing/2014/main" id="{74780629-1330-4DAF-8FF5-080820B223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5406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Диграмма/объект 4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7">
            <a:extLst>
              <a:ext uri="{FF2B5EF4-FFF2-40B4-BE49-F238E27FC236}">
                <a16:creationId xmlns="" xmlns:a16="http://schemas.microsoft.com/office/drawing/2014/main" id="{FE3C901B-1E2B-435A-9822-BE49FDB447EA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3" name="Rectangle 8">
            <a:extLst>
              <a:ext uri="{FF2B5EF4-FFF2-40B4-BE49-F238E27FC236}">
                <a16:creationId xmlns="" xmlns:a16="http://schemas.microsoft.com/office/drawing/2014/main" id="{BBCB6A84-EF44-4B4D-87AF-05B358F74D02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4" name="Rectangle 24">
            <a:extLst>
              <a:ext uri="{FF2B5EF4-FFF2-40B4-BE49-F238E27FC236}">
                <a16:creationId xmlns="" xmlns:a16="http://schemas.microsoft.com/office/drawing/2014/main" id="{3DBE928D-121D-4B2F-964F-96481BE92A01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6" name="Content Placeholder 9">
            <a:extLst>
              <a:ext uri="{FF2B5EF4-FFF2-40B4-BE49-F238E27FC236}">
                <a16:creationId xmlns="" xmlns:a16="http://schemas.microsoft.com/office/drawing/2014/main" id="{D124C94F-36B9-4727-B686-6ECD8C9C2347}"/>
              </a:ext>
            </a:extLst>
          </p:cNvPr>
          <p:cNvSpPr>
            <a:spLocks noGrp="1"/>
          </p:cNvSpPr>
          <p:nvPr>
            <p:ph sz="quarter" idx="86" hasCustomPrompt="1"/>
          </p:nvPr>
        </p:nvSpPr>
        <p:spPr>
          <a:xfrm>
            <a:off x="335754" y="1487804"/>
            <a:ext cx="4155283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7" name="Content Placeholder 9">
            <a:extLst>
              <a:ext uri="{FF2B5EF4-FFF2-40B4-BE49-F238E27FC236}">
                <a16:creationId xmlns="" xmlns:a16="http://schemas.microsoft.com/office/drawing/2014/main" id="{72CE84CA-5163-4581-8FE1-33800E152159}"/>
              </a:ext>
            </a:extLst>
          </p:cNvPr>
          <p:cNvSpPr>
            <a:spLocks noGrp="1"/>
          </p:cNvSpPr>
          <p:nvPr>
            <p:ph sz="quarter" idx="87" hasCustomPrompt="1"/>
          </p:nvPr>
        </p:nvSpPr>
        <p:spPr>
          <a:xfrm>
            <a:off x="4663954" y="1487804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8" name="Content Placeholder 9">
            <a:extLst>
              <a:ext uri="{FF2B5EF4-FFF2-40B4-BE49-F238E27FC236}">
                <a16:creationId xmlns="" xmlns:a16="http://schemas.microsoft.com/office/drawing/2014/main" id="{400287AE-FFA1-49F0-BE4F-E6AF000EC0C7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335755" y="4145279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40" name="Content Placeholder 9">
            <a:extLst>
              <a:ext uri="{FF2B5EF4-FFF2-40B4-BE49-F238E27FC236}">
                <a16:creationId xmlns="" xmlns:a16="http://schemas.microsoft.com/office/drawing/2014/main" id="{5D243675-093D-4702-919B-9728F4F78C7F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4663954" y="4145279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5" name="Footer Placeholder 2">
            <a:extLst>
              <a:ext uri="{FF2B5EF4-FFF2-40B4-BE49-F238E27FC236}">
                <a16:creationId xmlns="" xmlns:a16="http://schemas.microsoft.com/office/drawing/2014/main" id="{6FC06F52-95F5-4858-A187-E33ABB1017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1" name="Slide Number Placeholder 3">
            <a:extLst>
              <a:ext uri="{FF2B5EF4-FFF2-40B4-BE49-F238E27FC236}">
                <a16:creationId xmlns="" xmlns:a16="http://schemas.microsoft.com/office/drawing/2014/main" id="{2AF3D64B-64E8-4FE3-96C1-7FCC482452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42" name="Straight Connector 15">
            <a:extLst>
              <a:ext uri="{FF2B5EF4-FFF2-40B4-BE49-F238E27FC236}">
                <a16:creationId xmlns="" xmlns:a16="http://schemas.microsoft.com/office/drawing/2014/main" id="{687A01BB-96A3-4638-94A4-F199492BAF86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16">
            <a:extLst>
              <a:ext uri="{FF2B5EF4-FFF2-40B4-BE49-F238E27FC236}">
                <a16:creationId xmlns="" xmlns:a16="http://schemas.microsoft.com/office/drawing/2014/main" id="{D7DD40B8-38E3-46D0-B28C-5A5D1A6BA8E7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7">
            <a:extLst>
              <a:ext uri="{FF2B5EF4-FFF2-40B4-BE49-F238E27FC236}">
                <a16:creationId xmlns="" xmlns:a16="http://schemas.microsoft.com/office/drawing/2014/main" id="{BA80F6EC-877D-4AA2-90A8-6CAEADD71559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35758" y="3408651"/>
            <a:ext cx="415431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7" name="Текст 7">
            <a:extLst>
              <a:ext uri="{FF2B5EF4-FFF2-40B4-BE49-F238E27FC236}">
                <a16:creationId xmlns="" xmlns:a16="http://schemas.microsoft.com/office/drawing/2014/main" id="{FE15D2E7-CC8C-494E-A315-2982AA367D5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35759" y="1090936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9" name="Прямая соединительная линия 29">
            <a:extLst>
              <a:ext uri="{FF2B5EF4-FFF2-40B4-BE49-F238E27FC236}">
                <a16:creationId xmlns="" xmlns:a16="http://schemas.microsoft.com/office/drawing/2014/main" id="{37CDCA52-9AED-4535-9393-7660D3BD6576}"/>
              </a:ext>
            </a:extLst>
          </p:cNvPr>
          <p:cNvCxnSpPr>
            <a:cxnSpLocks/>
          </p:cNvCxnSpPr>
          <p:nvPr userDrawn="1"/>
        </p:nvCxnSpPr>
        <p:spPr>
          <a:xfrm>
            <a:off x="335756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7">
            <a:extLst>
              <a:ext uri="{FF2B5EF4-FFF2-40B4-BE49-F238E27FC236}">
                <a16:creationId xmlns="" xmlns:a16="http://schemas.microsoft.com/office/drawing/2014/main" id="{1614C9BE-86E3-4521-B692-6DE9721D98B6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51" name="Текст 7">
            <a:extLst>
              <a:ext uri="{FF2B5EF4-FFF2-40B4-BE49-F238E27FC236}">
                <a16:creationId xmlns="" xmlns:a16="http://schemas.microsoft.com/office/drawing/2014/main" id="{964AF069-C7B2-48C1-AAFD-9ECDB5D6BE8E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2" name="Прямая соединительная линия 29">
            <a:extLst>
              <a:ext uri="{FF2B5EF4-FFF2-40B4-BE49-F238E27FC236}">
                <a16:creationId xmlns="" xmlns:a16="http://schemas.microsoft.com/office/drawing/2014/main" id="{4995563C-C42C-4BD2-8FBE-00417022B820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7">
            <a:extLst>
              <a:ext uri="{FF2B5EF4-FFF2-40B4-BE49-F238E27FC236}">
                <a16:creationId xmlns="" xmlns:a16="http://schemas.microsoft.com/office/drawing/2014/main" id="{77E23DF7-20FC-42E5-A4CA-98F033EA2B8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35758" y="6066126"/>
            <a:ext cx="415431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54" name="Текст 7">
            <a:extLst>
              <a:ext uri="{FF2B5EF4-FFF2-40B4-BE49-F238E27FC236}">
                <a16:creationId xmlns="" xmlns:a16="http://schemas.microsoft.com/office/drawing/2014/main" id="{84761176-EE3C-461D-ADD9-8932C110CB08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335759" y="3748410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5" name="Прямая соединительная линия 29">
            <a:extLst>
              <a:ext uri="{FF2B5EF4-FFF2-40B4-BE49-F238E27FC236}">
                <a16:creationId xmlns="" xmlns:a16="http://schemas.microsoft.com/office/drawing/2014/main" id="{4AC9D767-98C6-43A6-8CB3-F9F3284AEF3E}"/>
              </a:ext>
            </a:extLst>
          </p:cNvPr>
          <p:cNvCxnSpPr>
            <a:cxnSpLocks/>
          </p:cNvCxnSpPr>
          <p:nvPr userDrawn="1"/>
        </p:nvCxnSpPr>
        <p:spPr>
          <a:xfrm>
            <a:off x="335756" y="4076865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 Placeholder 7">
            <a:extLst>
              <a:ext uri="{FF2B5EF4-FFF2-40B4-BE49-F238E27FC236}">
                <a16:creationId xmlns="" xmlns:a16="http://schemas.microsoft.com/office/drawing/2014/main" id="{6A028B58-0A29-40C8-BC28-6E9976438491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4654091" y="6066126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57" name="Текст 7">
            <a:extLst>
              <a:ext uri="{FF2B5EF4-FFF2-40B4-BE49-F238E27FC236}">
                <a16:creationId xmlns="" xmlns:a16="http://schemas.microsoft.com/office/drawing/2014/main" id="{6783FF1A-2A7F-4E65-848E-961D76CC87A6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4654090" y="3748410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8" name="Прямая соединительная линия 29">
            <a:extLst>
              <a:ext uri="{FF2B5EF4-FFF2-40B4-BE49-F238E27FC236}">
                <a16:creationId xmlns="" xmlns:a16="http://schemas.microsoft.com/office/drawing/2014/main" id="{DC1FB18F-F9BF-4C82-8BD6-CC61E4A890AA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6865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Graphic 10">
            <a:extLst>
              <a:ext uri="{FF2B5EF4-FFF2-40B4-BE49-F238E27FC236}">
                <a16:creationId xmlns="" xmlns:a16="http://schemas.microsoft.com/office/drawing/2014/main" id="{B0F49E2C-F577-4619-848F-F9640A3895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48352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 2 шт.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7">
            <a:extLst>
              <a:ext uri="{FF2B5EF4-FFF2-40B4-BE49-F238E27FC236}">
                <a16:creationId xmlns="" xmlns:a16="http://schemas.microsoft.com/office/drawing/2014/main" id="{2215EE83-4FE2-47E3-BC22-137DD018D9C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7" name="Текст 7">
            <a:extLst>
              <a:ext uri="{FF2B5EF4-FFF2-40B4-BE49-F238E27FC236}">
                <a16:creationId xmlns="" xmlns:a16="http://schemas.microsoft.com/office/drawing/2014/main" id="{1AB39D39-C605-45F7-B53A-85B40586F61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54094" y="2744795"/>
            <a:ext cx="4147009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="" xmlns:a16="http://schemas.microsoft.com/office/drawing/2014/main" id="{7FFEF65A-D7B7-48A0-8EA0-D8F75EC973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606035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="" xmlns:a16="http://schemas.microsoft.com/office/drawing/2014/main" id="{D8B8E1E1-D6FF-47E0-8CEF-3D3CA1580D8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5760" y="2744795"/>
            <a:ext cx="4155281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=""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335757" y="3068487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="" xmlns:a16="http://schemas.microsoft.com/office/drawing/2014/main" id="{00ACF3FF-F21E-4C8C-9C9D-4D615698B96C}"/>
              </a:ext>
            </a:extLst>
          </p:cNvPr>
          <p:cNvCxnSpPr>
            <a:cxnSpLocks/>
          </p:cNvCxnSpPr>
          <p:nvPr userDrawn="1"/>
        </p:nvCxnSpPr>
        <p:spPr>
          <a:xfrm>
            <a:off x="4654886" y="3068487"/>
            <a:ext cx="4141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59">
            <a:extLst>
              <a:ext uri="{FF2B5EF4-FFF2-40B4-BE49-F238E27FC236}">
                <a16:creationId xmlns="" xmlns:a16="http://schemas.microsoft.com/office/drawing/2014/main" id="{DE8071DE-149B-44FE-BA5A-07E37AE71BC6}"/>
              </a:ext>
            </a:extLst>
          </p:cNvPr>
          <p:cNvSpPr/>
          <p:nvPr userDrawn="1"/>
        </p:nvSpPr>
        <p:spPr>
          <a:xfrm>
            <a:off x="335756" y="1089850"/>
            <a:ext cx="35944" cy="14004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9000" rIns="216000" rtlCol="0" anchor="ctr"/>
          <a:lstStyle/>
          <a:p>
            <a:endParaRPr lang="en-US" sz="825" dirty="0">
              <a:solidFill>
                <a:schemeClr val="bg1"/>
              </a:solidFill>
            </a:endParaRPr>
          </a:p>
        </p:txBody>
      </p:sp>
      <p:sp>
        <p:nvSpPr>
          <p:cNvPr id="20" name="Rectangle 61">
            <a:extLst>
              <a:ext uri="{FF2B5EF4-FFF2-40B4-BE49-F238E27FC236}">
                <a16:creationId xmlns="" xmlns:a16="http://schemas.microsoft.com/office/drawing/2014/main" id="{32369FA1-8576-42FE-B591-210AA2D7A2CA}"/>
              </a:ext>
            </a:extLst>
          </p:cNvPr>
          <p:cNvSpPr/>
          <p:nvPr userDrawn="1"/>
        </p:nvSpPr>
        <p:spPr>
          <a:xfrm>
            <a:off x="4655979" y="1089850"/>
            <a:ext cx="35944" cy="1400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9000" rIns="216000" rtlCol="0" anchor="ctr"/>
          <a:lstStyle/>
          <a:p>
            <a:endParaRPr lang="en-US" sz="900" dirty="0">
              <a:solidFill>
                <a:schemeClr val="bg1"/>
              </a:solidFill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="" xmlns:a16="http://schemas.microsoft.com/office/drawing/2014/main" id="{C54330EC-B94C-40C2-95EE-78B14B0044A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="" xmlns:a16="http://schemas.microsoft.com/office/drawing/2014/main" id="{5F64BE5C-4D21-41BA-80C6-F4E3801A467E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9">
            <a:extLst>
              <a:ext uri="{FF2B5EF4-FFF2-40B4-BE49-F238E27FC236}">
                <a16:creationId xmlns="" xmlns:a16="http://schemas.microsoft.com/office/drawing/2014/main" id="{876947F2-F797-48AD-A49E-8E6A15946777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335755" y="3141663"/>
            <a:ext cx="4148138" cy="2738438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6" name="Content Placeholder 9">
            <a:extLst>
              <a:ext uri="{FF2B5EF4-FFF2-40B4-BE49-F238E27FC236}">
                <a16:creationId xmlns="" xmlns:a16="http://schemas.microsoft.com/office/drawing/2014/main" id="{53507F20-B82A-492B-AF20-F721E1405155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4656808" y="3141663"/>
            <a:ext cx="4148138" cy="2738438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pic>
        <p:nvPicPr>
          <p:cNvPr id="26" name="Graphic 10">
            <a:extLst>
              <a:ext uri="{FF2B5EF4-FFF2-40B4-BE49-F238E27FC236}">
                <a16:creationId xmlns="" xmlns:a16="http://schemas.microsoft.com/office/drawing/2014/main" id="{6D510CFB-483E-4F87-A30E-4109BCF908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5" name="Текст 5">
            <a:extLst>
              <a:ext uri="{FF2B5EF4-FFF2-40B4-BE49-F238E27FC236}">
                <a16:creationId xmlns="" xmlns:a16="http://schemas.microsoft.com/office/drawing/2014/main" id="{0B4EE789-662E-4827-A94A-BEF4CE94C2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9038" y="1089850"/>
            <a:ext cx="4122000" cy="14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3" name="Текст 5">
            <a:extLst>
              <a:ext uri="{FF2B5EF4-FFF2-40B4-BE49-F238E27FC236}">
                <a16:creationId xmlns="" xmlns:a16="http://schemas.microsoft.com/office/drawing/2014/main" id="{4908FBBF-05AE-4591-85CD-FE14A3208FE0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4679100" y="1089850"/>
            <a:ext cx="4122000" cy="14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5510334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57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1933" userDrawn="1">
          <p15:clr>
            <a:srgbClr val="FBAE40"/>
          </p15:clr>
        </p15:guide>
        <p15:guide id="8" orient="horz" pos="3702" userDrawn="1">
          <p15:clr>
            <a:srgbClr val="FBAE40"/>
          </p15:clr>
        </p15:guide>
        <p15:guide id="9" orient="horz" pos="1979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 3 шт.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7">
            <a:extLst>
              <a:ext uri="{FF2B5EF4-FFF2-40B4-BE49-F238E27FC236}">
                <a16:creationId xmlns="" xmlns:a16="http://schemas.microsoft.com/office/drawing/2014/main" id="{5EE94929-948E-4C1A-AD64-75C36D106DA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6" name="Текст 7">
            <a:extLst>
              <a:ext uri="{FF2B5EF4-FFF2-40B4-BE49-F238E27FC236}">
                <a16:creationId xmlns="" xmlns:a16="http://schemas.microsoft.com/office/drawing/2014/main" id="{7E143F1F-684C-4FEE-9CCA-22E00F19851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35758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="" xmlns:a16="http://schemas.microsoft.com/office/drawing/2014/main" id="{B7DEB2B1-3036-407F-8DA4-C9C84A67427B}"/>
              </a:ext>
            </a:extLst>
          </p:cNvPr>
          <p:cNvCxnSpPr>
            <a:cxnSpLocks/>
          </p:cNvCxnSpPr>
          <p:nvPr userDrawn="1"/>
        </p:nvCxnSpPr>
        <p:spPr>
          <a:xfrm>
            <a:off x="335760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7">
            <a:extLst>
              <a:ext uri="{FF2B5EF4-FFF2-40B4-BE49-F238E27FC236}">
                <a16:creationId xmlns="" xmlns:a16="http://schemas.microsoft.com/office/drawing/2014/main" id="{C06C286A-EDF4-43C0-8BC8-CF3A94C0569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22325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0" name="Текст 7">
            <a:extLst>
              <a:ext uri="{FF2B5EF4-FFF2-40B4-BE49-F238E27FC236}">
                <a16:creationId xmlns="" xmlns:a16="http://schemas.microsoft.com/office/drawing/2014/main" id="{27749A45-DF58-4FD5-AC52-E3890054356D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224329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="" xmlns:a16="http://schemas.microsoft.com/office/drawing/2014/main" id="{CDF85D56-7C03-4A4B-84CD-6A566BC7AB04}"/>
              </a:ext>
            </a:extLst>
          </p:cNvPr>
          <p:cNvCxnSpPr>
            <a:cxnSpLocks/>
          </p:cNvCxnSpPr>
          <p:nvPr userDrawn="1"/>
        </p:nvCxnSpPr>
        <p:spPr>
          <a:xfrm>
            <a:off x="3224329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="" xmlns:a16="http://schemas.microsoft.com/office/drawing/2014/main" id="{D443F0F4-09A0-45F1-B109-8177B7230BA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11478" y="6060358"/>
            <a:ext cx="268899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4" name="Текст 7">
            <a:extLst>
              <a:ext uri="{FF2B5EF4-FFF2-40B4-BE49-F238E27FC236}">
                <a16:creationId xmlns="" xmlns:a16="http://schemas.microsoft.com/office/drawing/2014/main" id="{AC295CD9-C765-4A02-AC1A-EB509A4B4F0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12557" y="2747019"/>
            <a:ext cx="268962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="" xmlns:a16="http://schemas.microsoft.com/office/drawing/2014/main" id="{46F7D1A3-7E2B-44E6-A28C-1E658A367D29}"/>
              </a:ext>
            </a:extLst>
          </p:cNvPr>
          <p:cNvCxnSpPr>
            <a:cxnSpLocks/>
          </p:cNvCxnSpPr>
          <p:nvPr userDrawn="1"/>
        </p:nvCxnSpPr>
        <p:spPr>
          <a:xfrm>
            <a:off x="6112558" y="3068487"/>
            <a:ext cx="26913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59">
            <a:extLst>
              <a:ext uri="{FF2B5EF4-FFF2-40B4-BE49-F238E27FC236}">
                <a16:creationId xmlns="" xmlns:a16="http://schemas.microsoft.com/office/drawing/2014/main" id="{835CDA0B-7955-4660-85B7-E7C5B37FD55D}"/>
              </a:ext>
            </a:extLst>
          </p:cNvPr>
          <p:cNvSpPr/>
          <p:nvPr userDrawn="1"/>
        </p:nvSpPr>
        <p:spPr>
          <a:xfrm>
            <a:off x="335756" y="1089850"/>
            <a:ext cx="35944" cy="14004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9000" rIns="216000" rtlCol="0" anchor="ctr"/>
          <a:lstStyle/>
          <a:p>
            <a:endParaRPr lang="en-US" sz="825" dirty="0">
              <a:solidFill>
                <a:schemeClr val="bg1"/>
              </a:solidFill>
            </a:endParaRPr>
          </a:p>
        </p:txBody>
      </p:sp>
      <p:sp>
        <p:nvSpPr>
          <p:cNvPr id="24" name="Rectangle 61">
            <a:extLst>
              <a:ext uri="{FF2B5EF4-FFF2-40B4-BE49-F238E27FC236}">
                <a16:creationId xmlns="" xmlns:a16="http://schemas.microsoft.com/office/drawing/2014/main" id="{A751F34E-CB38-4D2F-B4A9-75905E0285B5}"/>
              </a:ext>
            </a:extLst>
          </p:cNvPr>
          <p:cNvSpPr/>
          <p:nvPr userDrawn="1"/>
        </p:nvSpPr>
        <p:spPr>
          <a:xfrm>
            <a:off x="3223419" y="1089850"/>
            <a:ext cx="35944" cy="1400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9000" rIns="216000" rtlCol="0" anchor="ctr"/>
          <a:lstStyle/>
          <a:p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25" name="Rectangle 63">
            <a:extLst>
              <a:ext uri="{FF2B5EF4-FFF2-40B4-BE49-F238E27FC236}">
                <a16:creationId xmlns="" xmlns:a16="http://schemas.microsoft.com/office/drawing/2014/main" id="{F819EBA9-C914-411D-81E3-28B69329C143}"/>
              </a:ext>
            </a:extLst>
          </p:cNvPr>
          <p:cNvSpPr/>
          <p:nvPr userDrawn="1"/>
        </p:nvSpPr>
        <p:spPr>
          <a:xfrm>
            <a:off x="6112509" y="1089850"/>
            <a:ext cx="35944" cy="14004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9000" rIns="216000" rtlCol="0" anchor="ctr"/>
          <a:lstStyle/>
          <a:p>
            <a:endParaRPr lang="en-US" sz="900" dirty="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="" xmlns:a16="http://schemas.microsoft.com/office/drawing/2014/main" id="{B257A317-0112-48EB-8775-73B19DA39741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="" xmlns:a16="http://schemas.microsoft.com/office/drawing/2014/main" id="{5DF4C400-B22F-4F61-9C68-9ABEB58044BA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Graphic 10">
            <a:extLst>
              <a:ext uri="{FF2B5EF4-FFF2-40B4-BE49-F238E27FC236}">
                <a16:creationId xmlns="" xmlns:a16="http://schemas.microsoft.com/office/drawing/2014/main" id="{7E78DB7F-BBA9-42BE-A198-980BF84EF7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51" name="Content Placeholder 9">
            <a:extLst>
              <a:ext uri="{FF2B5EF4-FFF2-40B4-BE49-F238E27FC236}">
                <a16:creationId xmlns="" xmlns:a16="http://schemas.microsoft.com/office/drawing/2014/main" id="{FCCBEB02-DC6D-4E16-A723-5B07600642E0}"/>
              </a:ext>
            </a:extLst>
          </p:cNvPr>
          <p:cNvSpPr>
            <a:spLocks noGrp="1"/>
          </p:cNvSpPr>
          <p:nvPr>
            <p:ph sz="quarter" idx="87" hasCustomPrompt="1"/>
          </p:nvPr>
        </p:nvSpPr>
        <p:spPr>
          <a:xfrm>
            <a:off x="335760" y="3141670"/>
            <a:ext cx="2696400" cy="273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52" name="Content Placeholder 9">
            <a:extLst>
              <a:ext uri="{FF2B5EF4-FFF2-40B4-BE49-F238E27FC236}">
                <a16:creationId xmlns="" xmlns:a16="http://schemas.microsoft.com/office/drawing/2014/main" id="{AF30ADDF-A69F-4368-8B02-21661271B6B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3224329" y="3141670"/>
            <a:ext cx="2696400" cy="273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53" name="Content Placeholder 9">
            <a:extLst>
              <a:ext uri="{FF2B5EF4-FFF2-40B4-BE49-F238E27FC236}">
                <a16:creationId xmlns="" xmlns:a16="http://schemas.microsoft.com/office/drawing/2014/main" id="{CFB7A1AD-DD9C-41F3-8446-8ECA9AC76DD1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6112557" y="3141670"/>
            <a:ext cx="2696400" cy="273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8" name="Текст 5">
            <a:extLst>
              <a:ext uri="{FF2B5EF4-FFF2-40B4-BE49-F238E27FC236}">
                <a16:creationId xmlns="" xmlns:a16="http://schemas.microsoft.com/office/drawing/2014/main" id="{68C5518C-D0F8-428B-BCD0-35FF1DC16E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9038" y="1089850"/>
            <a:ext cx="2660400" cy="14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9" name="Текст 5">
            <a:extLst>
              <a:ext uri="{FF2B5EF4-FFF2-40B4-BE49-F238E27FC236}">
                <a16:creationId xmlns="" xmlns:a16="http://schemas.microsoft.com/office/drawing/2014/main" id="{2798F1A9-F61E-4F2E-BCA6-7B63CB09960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3262563" y="1089850"/>
            <a:ext cx="2660400" cy="14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0" name="Текст 5">
            <a:extLst>
              <a:ext uri="{FF2B5EF4-FFF2-40B4-BE49-F238E27FC236}">
                <a16:creationId xmlns="" xmlns:a16="http://schemas.microsoft.com/office/drawing/2014/main" id="{8F6777F2-B252-4CDE-B554-9A04F8800C8E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140700" y="1089850"/>
            <a:ext cx="2660400" cy="14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615199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816" userDrawn="1">
          <p15:clr>
            <a:srgbClr val="FBAE40"/>
          </p15:clr>
        </p15:guide>
        <p15:guide id="2" pos="1910" userDrawn="1">
          <p15:clr>
            <a:srgbClr val="FBAE40"/>
          </p15:clr>
        </p15:guide>
        <p15:guide id="4" pos="3850" userDrawn="1">
          <p15:clr>
            <a:srgbClr val="FBAE40"/>
          </p15:clr>
        </p15:guide>
        <p15:guide id="5" pos="2030" userDrawn="1">
          <p15:clr>
            <a:srgbClr val="FBAE40"/>
          </p15:clr>
        </p15:guide>
        <p15:guide id="6" pos="3731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729" userDrawn="1">
          <p15:clr>
            <a:srgbClr val="FBAE40"/>
          </p15:clr>
        </p15:guide>
        <p15:guide id="10" orient="horz" pos="1933" userDrawn="1">
          <p15:clr>
            <a:srgbClr val="FBAE40"/>
          </p15:clr>
        </p15:guide>
        <p15:guide id="11" orient="horz" pos="3702" userDrawn="1">
          <p15:clr>
            <a:srgbClr val="FBAE40"/>
          </p15:clr>
        </p15:guide>
        <p15:guide id="12" orient="horz" pos="197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_Титул (Белаз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F43FB7BB-D84F-49DF-98F8-1C9C2DF7207E}"/>
              </a:ext>
            </a:extLst>
          </p:cNvPr>
          <p:cNvSpPr/>
          <p:nvPr userDrawn="1"/>
        </p:nvSpPr>
        <p:spPr>
          <a:xfrm>
            <a:off x="8227817" y="0"/>
            <a:ext cx="916185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A2AB78FF-A483-48CC-B5C7-2C10C2BF9FD0}"/>
              </a:ext>
            </a:extLst>
          </p:cNvPr>
          <p:cNvSpPr/>
          <p:nvPr userDrawn="1"/>
        </p:nvSpPr>
        <p:spPr>
          <a:xfrm flipH="1" flipV="1">
            <a:off x="1714502" y="5257800"/>
            <a:ext cx="6513315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C6FB9BDD-0F47-4592-B121-06ABC7F01DA9}"/>
              </a:ext>
            </a:extLst>
          </p:cNvPr>
          <p:cNvSpPr/>
          <p:nvPr userDrawn="1"/>
        </p:nvSpPr>
        <p:spPr>
          <a:xfrm flipH="1" flipV="1">
            <a:off x="0" y="6411912"/>
            <a:ext cx="1714500" cy="446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39" name="Graphic 22">
            <a:extLst>
              <a:ext uri="{FF2B5EF4-FFF2-40B4-BE49-F238E27FC236}">
                <a16:creationId xmlns="" xmlns:a16="http://schemas.microsoft.com/office/drawing/2014/main" id="{A1BFC96E-681B-435F-9F53-41406CD413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40" name="Title 1">
            <a:extLst>
              <a:ext uri="{FF2B5EF4-FFF2-40B4-BE49-F238E27FC236}">
                <a16:creationId xmlns="" xmlns:a16="http://schemas.microsoft.com/office/drawing/2014/main" id="{838F9B92-E48B-4EC0-9C45-F73896C29B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41" name="Subtitle 2">
            <a:extLst>
              <a:ext uri="{FF2B5EF4-FFF2-40B4-BE49-F238E27FC236}">
                <a16:creationId xmlns="" xmlns:a16="http://schemas.microsoft.com/office/drawing/2014/main" id="{8205E3D0-EDC4-4444-81F8-8A46B4C739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grpSp>
        <p:nvGrpSpPr>
          <p:cNvPr id="44" name="Graphic 21">
            <a:extLst>
              <a:ext uri="{FF2B5EF4-FFF2-40B4-BE49-F238E27FC236}">
                <a16:creationId xmlns="" xmlns:a16="http://schemas.microsoft.com/office/drawing/2014/main" id="{C32B7444-3D8C-4F3E-A104-C6E3D2EEBA1A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="" xmlns:a16="http://schemas.microsoft.com/office/drawing/2014/main" id="{A98EEDDB-620F-415C-BFB0-D8E6A2E8BDF5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="" xmlns:a16="http://schemas.microsoft.com/office/drawing/2014/main" id="{E13D2E79-EE1F-449B-9F68-C10249217310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7" name="Graphic 20">
            <a:extLst>
              <a:ext uri="{FF2B5EF4-FFF2-40B4-BE49-F238E27FC236}">
                <a16:creationId xmlns="" xmlns:a16="http://schemas.microsoft.com/office/drawing/2014/main" id="{DB560E4B-9D6C-44C2-B09D-C033F5FA9A4B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8" name="Полилиния: фигура 47">
              <a:extLst>
                <a:ext uri="{FF2B5EF4-FFF2-40B4-BE49-F238E27FC236}">
                  <a16:creationId xmlns="" xmlns:a16="http://schemas.microsoft.com/office/drawing/2014/main" id="{A167AC0D-606B-4D06-A964-54DE55AD163D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="" xmlns:a16="http://schemas.microsoft.com/office/drawing/2014/main" id="{DA1B0671-D3BC-4770-8B95-6C2FC7F99DD5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="" xmlns:a16="http://schemas.microsoft.com/office/drawing/2014/main" id="{66627B78-647D-4F34-9246-130FE7CFEAFE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="" xmlns:a16="http://schemas.microsoft.com/office/drawing/2014/main" id="{64EDEA62-1FE3-4342-94D8-77BE85DBF081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="" xmlns:a16="http://schemas.microsoft.com/office/drawing/2014/main" id="{3253F6F9-6EB8-46C8-B0D5-AD68ED157767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="" xmlns:a16="http://schemas.microsoft.com/office/drawing/2014/main" id="{8045B2BB-2FA9-4F32-B143-7AB7862D4DF0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="" xmlns:a16="http://schemas.microsoft.com/office/drawing/2014/main" id="{C81460CA-49E4-43F5-8401-C416096E79B5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56" name="Picture 13">
            <a:extLst>
              <a:ext uri="{FF2B5EF4-FFF2-40B4-BE49-F238E27FC236}">
                <a16:creationId xmlns="" xmlns:a16="http://schemas.microsoft.com/office/drawing/2014/main" id="{097ED8F2-DFC3-410D-AACE-B712C34F557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2774719" y="3122147"/>
            <a:ext cx="6357926" cy="3278651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37E4B9A1-C805-414F-A62B-8CE27FE23F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2C23C98D-DDE6-4A9E-AAEA-1FFB73D1B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532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4CBDC43F-1589-47DA-99D8-E151A85433E9}"/>
              </a:ext>
            </a:extLst>
          </p:cNvPr>
          <p:cNvSpPr/>
          <p:nvPr userDrawn="1"/>
        </p:nvSpPr>
        <p:spPr>
          <a:xfrm rot="5400000">
            <a:off x="-153747" y="1256708"/>
            <a:ext cx="909950" cy="6024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EA55D20B-36AB-4A58-B4F0-8693286A00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7684" y="3084920"/>
            <a:ext cx="7020000" cy="1387046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ителя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ADA49E74-B395-4DC0-9905-19B064E22A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7684" y="4766022"/>
            <a:ext cx="4952666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="" xmlns:a16="http://schemas.microsoft.com/office/drawing/2014/main" id="{F27ECBD3-D0B4-4356-ACBE-BDDAD77DA2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7684" y="5226354"/>
            <a:ext cx="495266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Должность</a:t>
            </a:r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238131B2-8342-4742-970C-CD3D797DEEAC}"/>
              </a:ext>
            </a:extLst>
          </p:cNvPr>
          <p:cNvSpPr/>
          <p:nvPr userDrawn="1"/>
        </p:nvSpPr>
        <p:spPr>
          <a:xfrm rot="5400000">
            <a:off x="4475013" y="-1864268"/>
            <a:ext cx="454720" cy="81998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DF35CD31-06AE-48F0-B8E3-FE2C5D5B9297}"/>
              </a:ext>
            </a:extLst>
          </p:cNvPr>
          <p:cNvSpPr/>
          <p:nvPr userDrawn="1"/>
        </p:nvSpPr>
        <p:spPr>
          <a:xfrm rot="5400000">
            <a:off x="8748196" y="2517112"/>
            <a:ext cx="454819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11" name="Graphic 9">
            <a:extLst>
              <a:ext uri="{FF2B5EF4-FFF2-40B4-BE49-F238E27FC236}">
                <a16:creationId xmlns="" xmlns:a16="http://schemas.microsoft.com/office/drawing/2014/main" id="{ED8143ED-63B0-4E99-B35A-367B5CDAA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5881" y="530424"/>
            <a:ext cx="1139865" cy="178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17553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4CBDC43F-1589-47DA-99D8-E151A85433E9}"/>
              </a:ext>
            </a:extLst>
          </p:cNvPr>
          <p:cNvSpPr/>
          <p:nvPr userDrawn="1"/>
        </p:nvSpPr>
        <p:spPr>
          <a:xfrm rot="5400000">
            <a:off x="-569107" y="1026158"/>
            <a:ext cx="3193675" cy="20557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4" name="Picture Placeholder 13">
            <a:extLst>
              <a:ext uri="{FF2B5EF4-FFF2-40B4-BE49-F238E27FC236}">
                <a16:creationId xmlns="" xmlns:a16="http://schemas.microsoft.com/office/drawing/2014/main" id="{9B8A156B-0292-451D-8C2A-F8A07F74A3F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1076" y="959277"/>
            <a:ext cx="3424669" cy="5436560"/>
          </a:xfrm>
          <a:custGeom>
            <a:avLst/>
            <a:gdLst>
              <a:gd name="connsiteX0" fmla="*/ 0 w 4566225"/>
              <a:gd name="connsiteY0" fmla="*/ 0 h 5436560"/>
              <a:gd name="connsiteX1" fmla="*/ 4566225 w 4566225"/>
              <a:gd name="connsiteY1" fmla="*/ 0 h 5436560"/>
              <a:gd name="connsiteX2" fmla="*/ 4566225 w 4566225"/>
              <a:gd name="connsiteY2" fmla="*/ 4983861 h 5436560"/>
              <a:gd name="connsiteX3" fmla="*/ 2738235 w 4566225"/>
              <a:gd name="connsiteY3" fmla="*/ 4983861 h 5436560"/>
              <a:gd name="connsiteX4" fmla="*/ 2738235 w 4566225"/>
              <a:gd name="connsiteY4" fmla="*/ 5436560 h 5436560"/>
              <a:gd name="connsiteX5" fmla="*/ 0 w 4566225"/>
              <a:gd name="connsiteY5" fmla="*/ 5436560 h 5436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66225" h="5436560">
                <a:moveTo>
                  <a:pt x="0" y="0"/>
                </a:moveTo>
                <a:lnTo>
                  <a:pt x="4566225" y="0"/>
                </a:lnTo>
                <a:lnTo>
                  <a:pt x="4566225" y="4983861"/>
                </a:lnTo>
                <a:lnTo>
                  <a:pt x="2738235" y="4983861"/>
                </a:lnTo>
                <a:lnTo>
                  <a:pt x="2738235" y="5436560"/>
                </a:lnTo>
                <a:lnTo>
                  <a:pt x="0" y="54365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ysClr val="windowText" lastClr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3074D40D-6EB2-4CBA-9889-4EB0F75A1F91}"/>
              </a:ext>
            </a:extLst>
          </p:cNvPr>
          <p:cNvSpPr/>
          <p:nvPr/>
        </p:nvSpPr>
        <p:spPr>
          <a:xfrm rot="5400000">
            <a:off x="4740726" y="6453611"/>
            <a:ext cx="462163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4DABE009-96D4-4010-8D43-90645C98303A}"/>
              </a:ext>
            </a:extLst>
          </p:cNvPr>
          <p:cNvSpPr/>
          <p:nvPr userDrawn="1"/>
        </p:nvSpPr>
        <p:spPr>
          <a:xfrm rot="5400000">
            <a:off x="3545275" y="5142619"/>
            <a:ext cx="452699" cy="20537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="" xmlns:a16="http://schemas.microsoft.com/office/drawing/2014/main" id="{E495F88C-7FA0-49EE-AE5D-DD71858681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8492" y="1208829"/>
            <a:ext cx="4002608" cy="1439497"/>
          </a:xfr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ителя</a:t>
            </a:r>
            <a:endParaRPr lang="en-US" dirty="0"/>
          </a:p>
        </p:txBody>
      </p:sp>
      <p:sp>
        <p:nvSpPr>
          <p:cNvPr id="22" name="Subtitle 2">
            <a:extLst>
              <a:ext uri="{FF2B5EF4-FFF2-40B4-BE49-F238E27FC236}">
                <a16:creationId xmlns="" xmlns:a16="http://schemas.microsoft.com/office/drawing/2014/main" id="{E2BDB9E1-97EB-41B7-8728-07D4F9C72D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36361" y="2942381"/>
            <a:ext cx="3962954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2A0DB93F-4941-4F18-A7D4-2CEDA4B7F7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36361" y="3420492"/>
            <a:ext cx="396295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Должность</a:t>
            </a:r>
            <a:endParaRPr lang="en-US" dirty="0"/>
          </a:p>
        </p:txBody>
      </p:sp>
      <p:pic>
        <p:nvPicPr>
          <p:cNvPr id="16" name="Graphic 9">
            <a:extLst>
              <a:ext uri="{FF2B5EF4-FFF2-40B4-BE49-F238E27FC236}">
                <a16:creationId xmlns="" xmlns:a16="http://schemas.microsoft.com/office/drawing/2014/main" id="{F9F703A0-82D7-42D5-AEC4-94565DE8AC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55279" y="516604"/>
            <a:ext cx="1139865" cy="178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4711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Контакты (3 пол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ubtitle 2">
            <a:extLst>
              <a:ext uri="{FF2B5EF4-FFF2-40B4-BE49-F238E27FC236}">
                <a16:creationId xmlns="" xmlns:a16="http://schemas.microsoft.com/office/drawing/2014/main" id="{909F1A8E-6A45-404F-8ACE-D5C6D24098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2457" y="4086130"/>
            <a:ext cx="2123881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Телефон</a:t>
            </a:r>
            <a:endParaRPr lang="en-US" dirty="0"/>
          </a:p>
        </p:txBody>
      </p:sp>
      <p:sp>
        <p:nvSpPr>
          <p:cNvPr id="32" name="Text Placeholder 4">
            <a:extLst>
              <a:ext uri="{FF2B5EF4-FFF2-40B4-BE49-F238E27FC236}">
                <a16:creationId xmlns="" xmlns:a16="http://schemas.microsoft.com/office/drawing/2014/main" id="{C6A7E253-0185-4935-85AA-01FB3A935DC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2456" y="4889367"/>
            <a:ext cx="2123881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smtClean="0">
                <a:solidFill>
                  <a:schemeClr val="tx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38" lvl="0" indent="-171438"/>
            <a:r>
              <a:rPr lang="en-US" dirty="0"/>
              <a:t>E-mail</a:t>
            </a:r>
          </a:p>
        </p:txBody>
      </p:sp>
      <p:cxnSp>
        <p:nvCxnSpPr>
          <p:cNvPr id="34" name="Straight Connector 14">
            <a:extLst>
              <a:ext uri="{FF2B5EF4-FFF2-40B4-BE49-F238E27FC236}">
                <a16:creationId xmlns="" xmlns:a16="http://schemas.microsoft.com/office/drawing/2014/main" id="{B0BED696-C1F7-4C85-944D-ABEFD9003DC3}"/>
              </a:ext>
            </a:extLst>
          </p:cNvPr>
          <p:cNvCxnSpPr>
            <a:cxnSpLocks/>
          </p:cNvCxnSpPr>
          <p:nvPr userDrawn="1"/>
        </p:nvCxnSpPr>
        <p:spPr>
          <a:xfrm>
            <a:off x="347442" y="5438313"/>
            <a:ext cx="257889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4">
            <a:extLst>
              <a:ext uri="{FF2B5EF4-FFF2-40B4-BE49-F238E27FC236}">
                <a16:creationId xmlns="" xmlns:a16="http://schemas.microsoft.com/office/drawing/2014/main" id="{03B7F029-AB82-4703-9854-E95C558026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2456" y="5667220"/>
            <a:ext cx="2123881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smtClean="0">
                <a:solidFill>
                  <a:schemeClr val="tx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38" lvl="0" indent="-171438"/>
            <a:r>
              <a:rPr lang="ru-RU" dirty="0"/>
              <a:t>Сайт</a:t>
            </a:r>
            <a:endParaRPr lang="en-US" dirty="0"/>
          </a:p>
        </p:txBody>
      </p:sp>
      <p:cxnSp>
        <p:nvCxnSpPr>
          <p:cNvPr id="18" name="Straight Connector 6">
            <a:extLst>
              <a:ext uri="{FF2B5EF4-FFF2-40B4-BE49-F238E27FC236}">
                <a16:creationId xmlns="" xmlns:a16="http://schemas.microsoft.com/office/drawing/2014/main" id="{19C19660-D922-4E08-AA2E-8AC24A270EE6}"/>
              </a:ext>
            </a:extLst>
          </p:cNvPr>
          <p:cNvCxnSpPr>
            <a:cxnSpLocks/>
          </p:cNvCxnSpPr>
          <p:nvPr userDrawn="1"/>
        </p:nvCxnSpPr>
        <p:spPr>
          <a:xfrm>
            <a:off x="347441" y="4621645"/>
            <a:ext cx="25788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Группа 14">
            <a:extLst>
              <a:ext uri="{FF2B5EF4-FFF2-40B4-BE49-F238E27FC236}">
                <a16:creationId xmlns="" xmlns:a16="http://schemas.microsoft.com/office/drawing/2014/main" id="{E92DF0CB-996F-4698-8DDD-5CDDD244C49D}"/>
              </a:ext>
            </a:extLst>
          </p:cNvPr>
          <p:cNvGrpSpPr/>
          <p:nvPr userDrawn="1"/>
        </p:nvGrpSpPr>
        <p:grpSpPr>
          <a:xfrm>
            <a:off x="1" y="6669093"/>
            <a:ext cx="9143850" cy="188913"/>
            <a:chOff x="1" y="6669086"/>
            <a:chExt cx="12191800" cy="188913"/>
          </a:xfrm>
        </p:grpSpPr>
        <p:sp>
          <p:nvSpPr>
            <p:cNvPr id="16" name="Rectangle 17">
              <a:extLst>
                <a:ext uri="{FF2B5EF4-FFF2-40B4-BE49-F238E27FC236}">
                  <a16:creationId xmlns="" xmlns:a16="http://schemas.microsoft.com/office/drawing/2014/main" id="{6006DAF8-6912-40AC-8FB7-DBB8152ADF32}"/>
                </a:ext>
              </a:extLst>
            </p:cNvPr>
            <p:cNvSpPr/>
            <p:nvPr userDrawn="1"/>
          </p:nvSpPr>
          <p:spPr>
            <a:xfrm>
              <a:off x="10070937" y="6669086"/>
              <a:ext cx="2120864" cy="18891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7" name="Rectangle 18">
              <a:extLst>
                <a:ext uri="{FF2B5EF4-FFF2-40B4-BE49-F238E27FC236}">
                  <a16:creationId xmlns="" xmlns:a16="http://schemas.microsoft.com/office/drawing/2014/main" id="{497CD7D4-F97C-452E-9A26-7E391799B8F0}"/>
                </a:ext>
              </a:extLst>
            </p:cNvPr>
            <p:cNvSpPr/>
            <p:nvPr userDrawn="1"/>
          </p:nvSpPr>
          <p:spPr>
            <a:xfrm>
              <a:off x="1" y="6669088"/>
              <a:ext cx="6231368" cy="1889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9" name="Rectangle 19">
              <a:extLst>
                <a:ext uri="{FF2B5EF4-FFF2-40B4-BE49-F238E27FC236}">
                  <a16:creationId xmlns="" xmlns:a16="http://schemas.microsoft.com/office/drawing/2014/main" id="{501F045D-E3A7-461C-8102-459AD925D2F0}"/>
                </a:ext>
              </a:extLst>
            </p:cNvPr>
            <p:cNvSpPr/>
            <p:nvPr userDrawn="1"/>
          </p:nvSpPr>
          <p:spPr>
            <a:xfrm>
              <a:off x="6231365" y="6669087"/>
              <a:ext cx="3839577" cy="18891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</p:grpSp>
      <p:sp>
        <p:nvSpPr>
          <p:cNvPr id="39" name="Graphic 20">
            <a:extLst>
              <a:ext uri="{FF2B5EF4-FFF2-40B4-BE49-F238E27FC236}">
                <a16:creationId xmlns="" xmlns:a16="http://schemas.microsoft.com/office/drawing/2014/main" id="{457CAEB7-3F56-479E-B195-55C9BC153DFA}"/>
              </a:ext>
            </a:extLst>
          </p:cNvPr>
          <p:cNvSpPr/>
          <p:nvPr userDrawn="1"/>
        </p:nvSpPr>
        <p:spPr>
          <a:xfrm>
            <a:off x="409542" y="4043702"/>
            <a:ext cx="212003" cy="333405"/>
          </a:xfrm>
          <a:custGeom>
            <a:avLst/>
            <a:gdLst>
              <a:gd name="connsiteX0" fmla="*/ 0 w 212003"/>
              <a:gd name="connsiteY0" fmla="*/ 0 h 333405"/>
              <a:gd name="connsiteX1" fmla="*/ 0 w 212003"/>
              <a:gd name="connsiteY1" fmla="*/ 333405 h 333405"/>
              <a:gd name="connsiteX2" fmla="*/ 212003 w 212003"/>
              <a:gd name="connsiteY2" fmla="*/ 333405 h 333405"/>
              <a:gd name="connsiteX3" fmla="*/ 212003 w 212003"/>
              <a:gd name="connsiteY3" fmla="*/ 0 h 333405"/>
              <a:gd name="connsiteX4" fmla="*/ 0 w 212003"/>
              <a:gd name="connsiteY4" fmla="*/ 0 h 333405"/>
              <a:gd name="connsiteX5" fmla="*/ 187843 w 212003"/>
              <a:gd name="connsiteY5" fmla="*/ 24160 h 333405"/>
              <a:gd name="connsiteX6" fmla="*/ 187843 w 212003"/>
              <a:gd name="connsiteY6" fmla="*/ 246007 h 333405"/>
              <a:gd name="connsiteX7" fmla="*/ 24160 w 212003"/>
              <a:gd name="connsiteY7" fmla="*/ 246007 h 333405"/>
              <a:gd name="connsiteX8" fmla="*/ 24160 w 212003"/>
              <a:gd name="connsiteY8" fmla="*/ 24160 h 333405"/>
              <a:gd name="connsiteX9" fmla="*/ 187843 w 212003"/>
              <a:gd name="connsiteY9" fmla="*/ 24160 h 333405"/>
              <a:gd name="connsiteX10" fmla="*/ 24160 w 212003"/>
              <a:gd name="connsiteY10" fmla="*/ 309245 h 333405"/>
              <a:gd name="connsiteX11" fmla="*/ 24160 w 212003"/>
              <a:gd name="connsiteY11" fmla="*/ 270167 h 333405"/>
              <a:gd name="connsiteX12" fmla="*/ 187843 w 212003"/>
              <a:gd name="connsiteY12" fmla="*/ 270167 h 333405"/>
              <a:gd name="connsiteX13" fmla="*/ 187843 w 212003"/>
              <a:gd name="connsiteY13" fmla="*/ 309245 h 333405"/>
              <a:gd name="connsiteX14" fmla="*/ 24160 w 212003"/>
              <a:gd name="connsiteY14" fmla="*/ 309245 h 333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12003" h="333405">
                <a:moveTo>
                  <a:pt x="0" y="0"/>
                </a:moveTo>
                <a:lnTo>
                  <a:pt x="0" y="333405"/>
                </a:lnTo>
                <a:lnTo>
                  <a:pt x="212003" y="333405"/>
                </a:lnTo>
                <a:lnTo>
                  <a:pt x="212003" y="0"/>
                </a:lnTo>
                <a:lnTo>
                  <a:pt x="0" y="0"/>
                </a:lnTo>
                <a:close/>
                <a:moveTo>
                  <a:pt x="187843" y="24160"/>
                </a:moveTo>
                <a:lnTo>
                  <a:pt x="187843" y="246007"/>
                </a:lnTo>
                <a:lnTo>
                  <a:pt x="24160" y="246007"/>
                </a:lnTo>
                <a:lnTo>
                  <a:pt x="24160" y="24160"/>
                </a:lnTo>
                <a:lnTo>
                  <a:pt x="187843" y="24160"/>
                </a:lnTo>
                <a:close/>
                <a:moveTo>
                  <a:pt x="24160" y="309245"/>
                </a:moveTo>
                <a:lnTo>
                  <a:pt x="24160" y="270167"/>
                </a:lnTo>
                <a:lnTo>
                  <a:pt x="187843" y="270167"/>
                </a:lnTo>
                <a:lnTo>
                  <a:pt x="187843" y="309245"/>
                </a:lnTo>
                <a:lnTo>
                  <a:pt x="24160" y="309245"/>
                </a:lnTo>
                <a:close/>
              </a:path>
            </a:pathLst>
          </a:custGeom>
          <a:solidFill>
            <a:srgbClr val="000000"/>
          </a:solidFill>
          <a:ln w="59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0" name="Graphic 21">
            <a:extLst>
              <a:ext uri="{FF2B5EF4-FFF2-40B4-BE49-F238E27FC236}">
                <a16:creationId xmlns="" xmlns:a16="http://schemas.microsoft.com/office/drawing/2014/main" id="{DA25FA6D-C4F3-41A7-AEB7-7269D85DF7B5}"/>
              </a:ext>
            </a:extLst>
          </p:cNvPr>
          <p:cNvSpPr/>
          <p:nvPr userDrawn="1"/>
        </p:nvSpPr>
        <p:spPr>
          <a:xfrm>
            <a:off x="350378" y="4909340"/>
            <a:ext cx="330330" cy="229519"/>
          </a:xfrm>
          <a:custGeom>
            <a:avLst/>
            <a:gdLst>
              <a:gd name="connsiteX0" fmla="*/ 0 w 330330"/>
              <a:gd name="connsiteY0" fmla="*/ 0 h 229519"/>
              <a:gd name="connsiteX1" fmla="*/ 0 w 330330"/>
              <a:gd name="connsiteY1" fmla="*/ 229519 h 229519"/>
              <a:gd name="connsiteX2" fmla="*/ 330331 w 330330"/>
              <a:gd name="connsiteY2" fmla="*/ 229519 h 229519"/>
              <a:gd name="connsiteX3" fmla="*/ 330331 w 330330"/>
              <a:gd name="connsiteY3" fmla="*/ 0 h 229519"/>
              <a:gd name="connsiteX4" fmla="*/ 0 w 330330"/>
              <a:gd name="connsiteY4" fmla="*/ 0 h 229519"/>
              <a:gd name="connsiteX5" fmla="*/ 289017 w 330330"/>
              <a:gd name="connsiteY5" fmla="*/ 24160 h 229519"/>
              <a:gd name="connsiteX6" fmla="*/ 164954 w 330330"/>
              <a:gd name="connsiteY6" fmla="*/ 147919 h 229519"/>
              <a:gd name="connsiteX7" fmla="*/ 41254 w 330330"/>
              <a:gd name="connsiteY7" fmla="*/ 24160 h 229519"/>
              <a:gd name="connsiteX8" fmla="*/ 289017 w 330330"/>
              <a:gd name="connsiteY8" fmla="*/ 24160 h 229519"/>
              <a:gd name="connsiteX9" fmla="*/ 24160 w 330330"/>
              <a:gd name="connsiteY9" fmla="*/ 205359 h 229519"/>
              <a:gd name="connsiteX10" fmla="*/ 24160 w 330330"/>
              <a:gd name="connsiteY10" fmla="*/ 41253 h 229519"/>
              <a:gd name="connsiteX11" fmla="*/ 164954 w 330330"/>
              <a:gd name="connsiteY11" fmla="*/ 182045 h 229519"/>
              <a:gd name="connsiteX12" fmla="*/ 306170 w 330330"/>
              <a:gd name="connsiteY12" fmla="*/ 41193 h 229519"/>
              <a:gd name="connsiteX13" fmla="*/ 306170 w 330330"/>
              <a:gd name="connsiteY13" fmla="*/ 205359 h 229519"/>
              <a:gd name="connsiteX14" fmla="*/ 24160 w 330330"/>
              <a:gd name="connsiteY14" fmla="*/ 205359 h 229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30330" h="229519">
                <a:moveTo>
                  <a:pt x="0" y="0"/>
                </a:moveTo>
                <a:lnTo>
                  <a:pt x="0" y="229519"/>
                </a:lnTo>
                <a:lnTo>
                  <a:pt x="330331" y="229519"/>
                </a:lnTo>
                <a:lnTo>
                  <a:pt x="330331" y="0"/>
                </a:lnTo>
                <a:lnTo>
                  <a:pt x="0" y="0"/>
                </a:lnTo>
                <a:close/>
                <a:moveTo>
                  <a:pt x="289017" y="24160"/>
                </a:moveTo>
                <a:lnTo>
                  <a:pt x="164954" y="147919"/>
                </a:lnTo>
                <a:lnTo>
                  <a:pt x="41254" y="24160"/>
                </a:lnTo>
                <a:lnTo>
                  <a:pt x="289017" y="24160"/>
                </a:lnTo>
                <a:close/>
                <a:moveTo>
                  <a:pt x="24160" y="205359"/>
                </a:moveTo>
                <a:lnTo>
                  <a:pt x="24160" y="41253"/>
                </a:lnTo>
                <a:lnTo>
                  <a:pt x="164954" y="182045"/>
                </a:lnTo>
                <a:lnTo>
                  <a:pt x="306170" y="41193"/>
                </a:lnTo>
                <a:lnTo>
                  <a:pt x="306170" y="205359"/>
                </a:lnTo>
                <a:lnTo>
                  <a:pt x="24160" y="205359"/>
                </a:lnTo>
                <a:close/>
              </a:path>
            </a:pathLst>
          </a:custGeom>
          <a:solidFill>
            <a:srgbClr val="000000"/>
          </a:solidFill>
          <a:ln w="59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41" name="Graphic 22">
            <a:extLst>
              <a:ext uri="{FF2B5EF4-FFF2-40B4-BE49-F238E27FC236}">
                <a16:creationId xmlns="" xmlns:a16="http://schemas.microsoft.com/office/drawing/2014/main" id="{3BFA42F1-4270-463D-AB74-6360B7377434}"/>
              </a:ext>
            </a:extLst>
          </p:cNvPr>
          <p:cNvGrpSpPr/>
          <p:nvPr userDrawn="1"/>
        </p:nvGrpSpPr>
        <p:grpSpPr>
          <a:xfrm>
            <a:off x="353671" y="5626540"/>
            <a:ext cx="323744" cy="286898"/>
            <a:chOff x="464332" y="5626540"/>
            <a:chExt cx="323744" cy="286898"/>
          </a:xfrm>
        </p:grpSpPr>
        <p:sp>
          <p:nvSpPr>
            <p:cNvPr id="42" name="Полилиния: фигура 41">
              <a:extLst>
                <a:ext uri="{FF2B5EF4-FFF2-40B4-BE49-F238E27FC236}">
                  <a16:creationId xmlns="" xmlns:a16="http://schemas.microsoft.com/office/drawing/2014/main" id="{C3D141FC-405B-4D8A-BF54-05DD5F45E7E9}"/>
                </a:ext>
              </a:extLst>
            </p:cNvPr>
            <p:cNvSpPr/>
            <p:nvPr/>
          </p:nvSpPr>
          <p:spPr>
            <a:xfrm>
              <a:off x="464332" y="5626540"/>
              <a:ext cx="323925" cy="286596"/>
            </a:xfrm>
            <a:custGeom>
              <a:avLst/>
              <a:gdLst>
                <a:gd name="connsiteX0" fmla="*/ 0 w 323925"/>
                <a:gd name="connsiteY0" fmla="*/ 0 h 286596"/>
                <a:gd name="connsiteX1" fmla="*/ 0 w 323925"/>
                <a:gd name="connsiteY1" fmla="*/ 286596 h 286596"/>
                <a:gd name="connsiteX2" fmla="*/ 323925 w 323925"/>
                <a:gd name="connsiteY2" fmla="*/ 286596 h 286596"/>
                <a:gd name="connsiteX3" fmla="*/ 323925 w 323925"/>
                <a:gd name="connsiteY3" fmla="*/ 0 h 286596"/>
                <a:gd name="connsiteX4" fmla="*/ 0 w 323925"/>
                <a:gd name="connsiteY4" fmla="*/ 0 h 286596"/>
                <a:gd name="connsiteX5" fmla="*/ 299765 w 323925"/>
                <a:gd name="connsiteY5" fmla="*/ 24160 h 286596"/>
                <a:gd name="connsiteX6" fmla="*/ 299765 w 323925"/>
                <a:gd name="connsiteY6" fmla="*/ 71272 h 286596"/>
                <a:gd name="connsiteX7" fmla="*/ 24160 w 323925"/>
                <a:gd name="connsiteY7" fmla="*/ 71272 h 286596"/>
                <a:gd name="connsiteX8" fmla="*/ 24160 w 323925"/>
                <a:gd name="connsiteY8" fmla="*/ 24160 h 286596"/>
                <a:gd name="connsiteX9" fmla="*/ 299765 w 323925"/>
                <a:gd name="connsiteY9" fmla="*/ 24160 h 286596"/>
                <a:gd name="connsiteX10" fmla="*/ 24160 w 323925"/>
                <a:gd name="connsiteY10" fmla="*/ 262436 h 286596"/>
                <a:gd name="connsiteX11" fmla="*/ 24160 w 323925"/>
                <a:gd name="connsiteY11" fmla="*/ 95431 h 286596"/>
                <a:gd name="connsiteX12" fmla="*/ 299765 w 323925"/>
                <a:gd name="connsiteY12" fmla="*/ 95431 h 286596"/>
                <a:gd name="connsiteX13" fmla="*/ 299765 w 323925"/>
                <a:gd name="connsiteY13" fmla="*/ 262436 h 286596"/>
                <a:gd name="connsiteX14" fmla="*/ 24160 w 323925"/>
                <a:gd name="connsiteY14" fmla="*/ 262436 h 28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3925" h="286596">
                  <a:moveTo>
                    <a:pt x="0" y="0"/>
                  </a:moveTo>
                  <a:lnTo>
                    <a:pt x="0" y="286596"/>
                  </a:lnTo>
                  <a:lnTo>
                    <a:pt x="323925" y="286596"/>
                  </a:lnTo>
                  <a:lnTo>
                    <a:pt x="323925" y="0"/>
                  </a:lnTo>
                  <a:lnTo>
                    <a:pt x="0" y="0"/>
                  </a:lnTo>
                  <a:close/>
                  <a:moveTo>
                    <a:pt x="299765" y="24160"/>
                  </a:moveTo>
                  <a:lnTo>
                    <a:pt x="299765" y="71272"/>
                  </a:lnTo>
                  <a:lnTo>
                    <a:pt x="24160" y="71272"/>
                  </a:lnTo>
                  <a:lnTo>
                    <a:pt x="24160" y="24160"/>
                  </a:lnTo>
                  <a:lnTo>
                    <a:pt x="299765" y="24160"/>
                  </a:lnTo>
                  <a:close/>
                  <a:moveTo>
                    <a:pt x="24160" y="262436"/>
                  </a:moveTo>
                  <a:lnTo>
                    <a:pt x="24160" y="95431"/>
                  </a:lnTo>
                  <a:lnTo>
                    <a:pt x="299765" y="95431"/>
                  </a:lnTo>
                  <a:lnTo>
                    <a:pt x="299765" y="262436"/>
                  </a:lnTo>
                  <a:lnTo>
                    <a:pt x="24160" y="262436"/>
                  </a:ln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="" xmlns:a16="http://schemas.microsoft.com/office/drawing/2014/main" id="{7B24CB02-1AE9-4BB0-84A0-7004813ED3FE}"/>
                </a:ext>
              </a:extLst>
            </p:cNvPr>
            <p:cNvSpPr/>
            <p:nvPr/>
          </p:nvSpPr>
          <p:spPr>
            <a:xfrm>
              <a:off x="506974" y="5661752"/>
              <a:ext cx="23918" cy="23918"/>
            </a:xfrm>
            <a:custGeom>
              <a:avLst/>
              <a:gdLst>
                <a:gd name="connsiteX0" fmla="*/ 23918 w 23918"/>
                <a:gd name="connsiteY0" fmla="*/ 11959 h 23918"/>
                <a:gd name="connsiteX1" fmla="*/ 11959 w 23918"/>
                <a:gd name="connsiteY1" fmla="*/ 23918 h 23918"/>
                <a:gd name="connsiteX2" fmla="*/ 0 w 23918"/>
                <a:gd name="connsiteY2" fmla="*/ 11959 h 23918"/>
                <a:gd name="connsiteX3" fmla="*/ 11959 w 23918"/>
                <a:gd name="connsiteY3" fmla="*/ 0 h 23918"/>
                <a:gd name="connsiteX4" fmla="*/ 23918 w 23918"/>
                <a:gd name="connsiteY4" fmla="*/ 11959 h 2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8" h="23918">
                  <a:moveTo>
                    <a:pt x="23918" y="11959"/>
                  </a:moveTo>
                  <a:cubicBezTo>
                    <a:pt x="23918" y="18564"/>
                    <a:pt x="18564" y="23918"/>
                    <a:pt x="11959" y="23918"/>
                  </a:cubicBezTo>
                  <a:cubicBezTo>
                    <a:pt x="5354" y="23918"/>
                    <a:pt x="0" y="18564"/>
                    <a:pt x="0" y="11959"/>
                  </a:cubicBezTo>
                  <a:cubicBezTo>
                    <a:pt x="0" y="5354"/>
                    <a:pt x="5354" y="0"/>
                    <a:pt x="11959" y="0"/>
                  </a:cubicBezTo>
                  <a:cubicBezTo>
                    <a:pt x="18564" y="0"/>
                    <a:pt x="23918" y="5354"/>
                    <a:pt x="23918" y="11959"/>
                  </a:cubicBez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="" xmlns:a16="http://schemas.microsoft.com/office/drawing/2014/main" id="{3203C979-843F-414A-A4C9-F19C50D94A05}"/>
                </a:ext>
              </a:extLst>
            </p:cNvPr>
            <p:cNvSpPr/>
            <p:nvPr/>
          </p:nvSpPr>
          <p:spPr>
            <a:xfrm>
              <a:off x="554690" y="5661752"/>
              <a:ext cx="23918" cy="23918"/>
            </a:xfrm>
            <a:custGeom>
              <a:avLst/>
              <a:gdLst>
                <a:gd name="connsiteX0" fmla="*/ 23918 w 23918"/>
                <a:gd name="connsiteY0" fmla="*/ 11959 h 23918"/>
                <a:gd name="connsiteX1" fmla="*/ 11959 w 23918"/>
                <a:gd name="connsiteY1" fmla="*/ 23918 h 23918"/>
                <a:gd name="connsiteX2" fmla="*/ 0 w 23918"/>
                <a:gd name="connsiteY2" fmla="*/ 11959 h 23918"/>
                <a:gd name="connsiteX3" fmla="*/ 11959 w 23918"/>
                <a:gd name="connsiteY3" fmla="*/ 0 h 23918"/>
                <a:gd name="connsiteX4" fmla="*/ 23918 w 23918"/>
                <a:gd name="connsiteY4" fmla="*/ 11959 h 2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8" h="23918">
                  <a:moveTo>
                    <a:pt x="23918" y="11959"/>
                  </a:moveTo>
                  <a:cubicBezTo>
                    <a:pt x="23918" y="18564"/>
                    <a:pt x="18564" y="23918"/>
                    <a:pt x="11959" y="23918"/>
                  </a:cubicBezTo>
                  <a:cubicBezTo>
                    <a:pt x="5354" y="23918"/>
                    <a:pt x="0" y="18564"/>
                    <a:pt x="0" y="11959"/>
                  </a:cubicBezTo>
                  <a:cubicBezTo>
                    <a:pt x="0" y="5354"/>
                    <a:pt x="5354" y="0"/>
                    <a:pt x="11959" y="0"/>
                  </a:cubicBezTo>
                  <a:cubicBezTo>
                    <a:pt x="18564" y="0"/>
                    <a:pt x="23918" y="5354"/>
                    <a:pt x="23918" y="11959"/>
                  </a:cubicBez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="" xmlns:a16="http://schemas.microsoft.com/office/drawing/2014/main" id="{19C80004-FDBB-41A2-8A18-F5935630B8CA}"/>
                </a:ext>
              </a:extLst>
            </p:cNvPr>
            <p:cNvSpPr/>
            <p:nvPr/>
          </p:nvSpPr>
          <p:spPr>
            <a:xfrm>
              <a:off x="602406" y="5661752"/>
              <a:ext cx="23918" cy="23918"/>
            </a:xfrm>
            <a:custGeom>
              <a:avLst/>
              <a:gdLst>
                <a:gd name="connsiteX0" fmla="*/ 23918 w 23918"/>
                <a:gd name="connsiteY0" fmla="*/ 11959 h 23918"/>
                <a:gd name="connsiteX1" fmla="*/ 11959 w 23918"/>
                <a:gd name="connsiteY1" fmla="*/ 23918 h 23918"/>
                <a:gd name="connsiteX2" fmla="*/ 0 w 23918"/>
                <a:gd name="connsiteY2" fmla="*/ 11959 h 23918"/>
                <a:gd name="connsiteX3" fmla="*/ 11959 w 23918"/>
                <a:gd name="connsiteY3" fmla="*/ 0 h 23918"/>
                <a:gd name="connsiteX4" fmla="*/ 23918 w 23918"/>
                <a:gd name="connsiteY4" fmla="*/ 11959 h 2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8" h="23918">
                  <a:moveTo>
                    <a:pt x="23918" y="11959"/>
                  </a:moveTo>
                  <a:cubicBezTo>
                    <a:pt x="23918" y="18564"/>
                    <a:pt x="18564" y="23918"/>
                    <a:pt x="11959" y="23918"/>
                  </a:cubicBezTo>
                  <a:cubicBezTo>
                    <a:pt x="5354" y="23918"/>
                    <a:pt x="0" y="18564"/>
                    <a:pt x="0" y="11959"/>
                  </a:cubicBezTo>
                  <a:cubicBezTo>
                    <a:pt x="0" y="5354"/>
                    <a:pt x="5354" y="0"/>
                    <a:pt x="11959" y="0"/>
                  </a:cubicBezTo>
                  <a:cubicBezTo>
                    <a:pt x="18564" y="0"/>
                    <a:pt x="23918" y="5354"/>
                    <a:pt x="23918" y="11959"/>
                  </a:cubicBez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46" name="Graphic 9">
            <a:extLst>
              <a:ext uri="{FF2B5EF4-FFF2-40B4-BE49-F238E27FC236}">
                <a16:creationId xmlns="" xmlns:a16="http://schemas.microsoft.com/office/drawing/2014/main" id="{540CD4B9-B356-44ED-8D6C-FB3745963E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5881" y="530424"/>
            <a:ext cx="1139865" cy="178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150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Контакты (5 поле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="" xmlns:a16="http://schemas.microsoft.com/office/drawing/2014/main" id="{799EDD7A-BB34-46D7-8F7A-856A2D9A72A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809244" y="4876675"/>
            <a:ext cx="3104122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Телефон</a:t>
            </a:r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="" xmlns:a16="http://schemas.microsoft.com/office/drawing/2014/main" id="{98AF9379-F1CB-4482-9469-E32874EC69D9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09244" y="5667220"/>
            <a:ext cx="3104122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smtClean="0">
                <a:solidFill>
                  <a:schemeClr val="tx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38" lvl="0" indent="-171438"/>
            <a:r>
              <a:rPr lang="en-US" dirty="0"/>
              <a:t>E-mail</a:t>
            </a:r>
          </a:p>
        </p:txBody>
      </p:sp>
      <p:cxnSp>
        <p:nvCxnSpPr>
          <p:cNvPr id="29" name="Straight Connector 6">
            <a:extLst>
              <a:ext uri="{FF2B5EF4-FFF2-40B4-BE49-F238E27FC236}">
                <a16:creationId xmlns="" xmlns:a16="http://schemas.microsoft.com/office/drawing/2014/main" id="{C12BA264-7AFC-46B9-A63D-B9CE6F1E89F0}"/>
              </a:ext>
            </a:extLst>
          </p:cNvPr>
          <p:cNvCxnSpPr>
            <a:cxnSpLocks/>
          </p:cNvCxnSpPr>
          <p:nvPr userDrawn="1"/>
        </p:nvCxnSpPr>
        <p:spPr>
          <a:xfrm>
            <a:off x="354230" y="4621645"/>
            <a:ext cx="35591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14">
            <a:extLst>
              <a:ext uri="{FF2B5EF4-FFF2-40B4-BE49-F238E27FC236}">
                <a16:creationId xmlns="" xmlns:a16="http://schemas.microsoft.com/office/drawing/2014/main" id="{EF614C75-DC8A-41C9-96BD-6EB2E1F7F12D}"/>
              </a:ext>
            </a:extLst>
          </p:cNvPr>
          <p:cNvCxnSpPr>
            <a:cxnSpLocks/>
          </p:cNvCxnSpPr>
          <p:nvPr userDrawn="1"/>
        </p:nvCxnSpPr>
        <p:spPr>
          <a:xfrm>
            <a:off x="354230" y="5438313"/>
            <a:ext cx="35591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24">
            <a:extLst>
              <a:ext uri="{FF2B5EF4-FFF2-40B4-BE49-F238E27FC236}">
                <a16:creationId xmlns="" xmlns:a16="http://schemas.microsoft.com/office/drawing/2014/main" id="{7036DDD2-C3AA-42D9-BCB7-B7DF4139EBAD}"/>
              </a:ext>
            </a:extLst>
          </p:cNvPr>
          <p:cNvCxnSpPr>
            <a:cxnSpLocks/>
          </p:cNvCxnSpPr>
          <p:nvPr userDrawn="1"/>
        </p:nvCxnSpPr>
        <p:spPr>
          <a:xfrm>
            <a:off x="354230" y="3036480"/>
            <a:ext cx="35591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25">
            <a:extLst>
              <a:ext uri="{FF2B5EF4-FFF2-40B4-BE49-F238E27FC236}">
                <a16:creationId xmlns="" xmlns:a16="http://schemas.microsoft.com/office/drawing/2014/main" id="{0613516D-5698-450A-994F-CA254B4EC62A}"/>
              </a:ext>
            </a:extLst>
          </p:cNvPr>
          <p:cNvCxnSpPr>
            <a:cxnSpLocks/>
          </p:cNvCxnSpPr>
          <p:nvPr userDrawn="1"/>
        </p:nvCxnSpPr>
        <p:spPr>
          <a:xfrm>
            <a:off x="354230" y="3803345"/>
            <a:ext cx="35591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7">
            <a:extLst>
              <a:ext uri="{FF2B5EF4-FFF2-40B4-BE49-F238E27FC236}">
                <a16:creationId xmlns="" xmlns:a16="http://schemas.microsoft.com/office/drawing/2014/main" id="{BFBE4325-D9EF-4190-96C7-F7B9B006A9FD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809244" y="4086129"/>
            <a:ext cx="3104122" cy="2462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1600" b="0" dirty="0" smtClean="0">
                <a:solidFill>
                  <a:schemeClr val="tx1"/>
                </a:solidFill>
              </a:defRPr>
            </a:lvl1pPr>
          </a:lstStyle>
          <a:p>
            <a:pPr marL="107991" lvl="0" indent="-107991">
              <a:lnSpc>
                <a:spcPct val="100000"/>
              </a:lnSpc>
            </a:pPr>
            <a:r>
              <a:rPr lang="ru-RU" dirty="0"/>
              <a:t>Дивизион</a:t>
            </a:r>
            <a:endParaRPr lang="en-US" dirty="0"/>
          </a:p>
        </p:txBody>
      </p:sp>
      <p:sp>
        <p:nvSpPr>
          <p:cNvPr id="34" name="Text Placeholder 7">
            <a:extLst>
              <a:ext uri="{FF2B5EF4-FFF2-40B4-BE49-F238E27FC236}">
                <a16:creationId xmlns="" xmlns:a16="http://schemas.microsoft.com/office/drawing/2014/main" id="{52FCCBE5-E3B5-42F8-956D-91D0103B315E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09244" y="3307899"/>
            <a:ext cx="3104122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16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  <a:endParaRPr lang="en-US" dirty="0"/>
          </a:p>
        </p:txBody>
      </p:sp>
      <p:sp>
        <p:nvSpPr>
          <p:cNvPr id="35" name="Text Placeholder 7">
            <a:extLst>
              <a:ext uri="{FF2B5EF4-FFF2-40B4-BE49-F238E27FC236}">
                <a16:creationId xmlns="" xmlns:a16="http://schemas.microsoft.com/office/drawing/2014/main" id="{3E539423-0E10-4E4F-B7BC-4B30352956E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809244" y="2517354"/>
            <a:ext cx="3104122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16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кладчик</a:t>
            </a:r>
            <a:endParaRPr lang="en-US" dirty="0"/>
          </a:p>
        </p:txBody>
      </p:sp>
      <p:grpSp>
        <p:nvGrpSpPr>
          <p:cNvPr id="39" name="Группа 14">
            <a:extLst>
              <a:ext uri="{FF2B5EF4-FFF2-40B4-BE49-F238E27FC236}">
                <a16:creationId xmlns="" xmlns:a16="http://schemas.microsoft.com/office/drawing/2014/main" id="{1E08B463-FE8E-4D73-9A2D-0BD69D91FE8A}"/>
              </a:ext>
            </a:extLst>
          </p:cNvPr>
          <p:cNvGrpSpPr/>
          <p:nvPr userDrawn="1"/>
        </p:nvGrpSpPr>
        <p:grpSpPr>
          <a:xfrm>
            <a:off x="1" y="6669093"/>
            <a:ext cx="9143850" cy="188913"/>
            <a:chOff x="1" y="6669086"/>
            <a:chExt cx="12191800" cy="188913"/>
          </a:xfrm>
        </p:grpSpPr>
        <p:sp>
          <p:nvSpPr>
            <p:cNvPr id="40" name="Rectangle 17">
              <a:extLst>
                <a:ext uri="{FF2B5EF4-FFF2-40B4-BE49-F238E27FC236}">
                  <a16:creationId xmlns="" xmlns:a16="http://schemas.microsoft.com/office/drawing/2014/main" id="{FCA269F9-D651-43C4-863F-E43C2726E406}"/>
                </a:ext>
              </a:extLst>
            </p:cNvPr>
            <p:cNvSpPr/>
            <p:nvPr userDrawn="1"/>
          </p:nvSpPr>
          <p:spPr>
            <a:xfrm>
              <a:off x="10070937" y="6669086"/>
              <a:ext cx="2120864" cy="18891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1" name="Rectangle 18">
              <a:extLst>
                <a:ext uri="{FF2B5EF4-FFF2-40B4-BE49-F238E27FC236}">
                  <a16:creationId xmlns="" xmlns:a16="http://schemas.microsoft.com/office/drawing/2014/main" id="{5C315E23-363E-4B69-B70C-36826CDBEE8A}"/>
                </a:ext>
              </a:extLst>
            </p:cNvPr>
            <p:cNvSpPr/>
            <p:nvPr userDrawn="1"/>
          </p:nvSpPr>
          <p:spPr>
            <a:xfrm>
              <a:off x="1" y="6669088"/>
              <a:ext cx="6231368" cy="1889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5" name="Rectangle 19">
              <a:extLst>
                <a:ext uri="{FF2B5EF4-FFF2-40B4-BE49-F238E27FC236}">
                  <a16:creationId xmlns="" xmlns:a16="http://schemas.microsoft.com/office/drawing/2014/main" id="{CCAC53E5-7976-4BA3-8775-6C248B640869}"/>
                </a:ext>
              </a:extLst>
            </p:cNvPr>
            <p:cNvSpPr/>
            <p:nvPr userDrawn="1"/>
          </p:nvSpPr>
          <p:spPr>
            <a:xfrm>
              <a:off x="6231365" y="6669087"/>
              <a:ext cx="3839577" cy="18891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</p:grpSp>
      <p:grpSp>
        <p:nvGrpSpPr>
          <p:cNvPr id="50" name="Graphic 44">
            <a:extLst>
              <a:ext uri="{FF2B5EF4-FFF2-40B4-BE49-F238E27FC236}">
                <a16:creationId xmlns="" xmlns:a16="http://schemas.microsoft.com/office/drawing/2014/main" id="{64C20BB3-15BF-492F-BC32-0CF96A00773D}"/>
              </a:ext>
            </a:extLst>
          </p:cNvPr>
          <p:cNvGrpSpPr/>
          <p:nvPr userDrawn="1"/>
        </p:nvGrpSpPr>
        <p:grpSpPr>
          <a:xfrm>
            <a:off x="368493" y="2459918"/>
            <a:ext cx="294965" cy="336457"/>
            <a:chOff x="485030" y="2459918"/>
            <a:chExt cx="294965" cy="336457"/>
          </a:xfrm>
        </p:grpSpPr>
        <p:sp>
          <p:nvSpPr>
            <p:cNvPr id="51" name="Полилиния: фигура 50">
              <a:extLst>
                <a:ext uri="{FF2B5EF4-FFF2-40B4-BE49-F238E27FC236}">
                  <a16:creationId xmlns="" xmlns:a16="http://schemas.microsoft.com/office/drawing/2014/main" id="{424F0BD5-2F63-4BE8-AEF0-71375331D62C}"/>
                </a:ext>
              </a:extLst>
            </p:cNvPr>
            <p:cNvSpPr/>
            <p:nvPr/>
          </p:nvSpPr>
          <p:spPr>
            <a:xfrm>
              <a:off x="533169" y="2459918"/>
              <a:ext cx="198285" cy="184865"/>
            </a:xfrm>
            <a:custGeom>
              <a:avLst/>
              <a:gdLst>
                <a:gd name="connsiteX0" fmla="*/ 99143 w 198285"/>
                <a:gd name="connsiteY0" fmla="*/ 24831 h 184865"/>
                <a:gd name="connsiteX1" fmla="*/ 150412 w 198285"/>
                <a:gd name="connsiteY1" fmla="*/ 44633 h 184865"/>
                <a:gd name="connsiteX2" fmla="*/ 171652 w 198285"/>
                <a:gd name="connsiteY2" fmla="*/ 92433 h 184865"/>
                <a:gd name="connsiteX3" fmla="*/ 150412 w 198285"/>
                <a:gd name="connsiteY3" fmla="*/ 140232 h 184865"/>
                <a:gd name="connsiteX4" fmla="*/ 99143 w 198285"/>
                <a:gd name="connsiteY4" fmla="*/ 160034 h 184865"/>
                <a:gd name="connsiteX5" fmla="*/ 47874 w 198285"/>
                <a:gd name="connsiteY5" fmla="*/ 140232 h 184865"/>
                <a:gd name="connsiteX6" fmla="*/ 26633 w 198285"/>
                <a:gd name="connsiteY6" fmla="*/ 92433 h 184865"/>
                <a:gd name="connsiteX7" fmla="*/ 47874 w 198285"/>
                <a:gd name="connsiteY7" fmla="*/ 44633 h 184865"/>
                <a:gd name="connsiteX8" fmla="*/ 99143 w 198285"/>
                <a:gd name="connsiteY8" fmla="*/ 24831 h 184865"/>
                <a:gd name="connsiteX9" fmla="*/ 99143 w 198285"/>
                <a:gd name="connsiteY9" fmla="*/ 0 h 184865"/>
                <a:gd name="connsiteX10" fmla="*/ 0 w 198285"/>
                <a:gd name="connsiteY10" fmla="*/ 92433 h 184865"/>
                <a:gd name="connsiteX11" fmla="*/ 99143 w 198285"/>
                <a:gd name="connsiteY11" fmla="*/ 184865 h 184865"/>
                <a:gd name="connsiteX12" fmla="*/ 198286 w 198285"/>
                <a:gd name="connsiteY12" fmla="*/ 92433 h 184865"/>
                <a:gd name="connsiteX13" fmla="*/ 99143 w 198285"/>
                <a:gd name="connsiteY13" fmla="*/ 0 h 184865"/>
                <a:gd name="connsiteX14" fmla="*/ 99143 w 198285"/>
                <a:gd name="connsiteY14" fmla="*/ 0 h 18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8285" h="184865">
                  <a:moveTo>
                    <a:pt x="99143" y="24831"/>
                  </a:moveTo>
                  <a:cubicBezTo>
                    <a:pt x="118519" y="24831"/>
                    <a:pt x="136696" y="31845"/>
                    <a:pt x="150412" y="44633"/>
                  </a:cubicBezTo>
                  <a:cubicBezTo>
                    <a:pt x="164128" y="57421"/>
                    <a:pt x="171652" y="74368"/>
                    <a:pt x="171652" y="92433"/>
                  </a:cubicBezTo>
                  <a:cubicBezTo>
                    <a:pt x="171652" y="110497"/>
                    <a:pt x="164128" y="127444"/>
                    <a:pt x="150412" y="140232"/>
                  </a:cubicBezTo>
                  <a:cubicBezTo>
                    <a:pt x="136696" y="153020"/>
                    <a:pt x="118519" y="160034"/>
                    <a:pt x="99143" y="160034"/>
                  </a:cubicBezTo>
                  <a:cubicBezTo>
                    <a:pt x="79767" y="160034"/>
                    <a:pt x="61590" y="153020"/>
                    <a:pt x="47874" y="140232"/>
                  </a:cubicBezTo>
                  <a:cubicBezTo>
                    <a:pt x="34157" y="127444"/>
                    <a:pt x="26633" y="110497"/>
                    <a:pt x="26633" y="92433"/>
                  </a:cubicBezTo>
                  <a:cubicBezTo>
                    <a:pt x="26633" y="74368"/>
                    <a:pt x="34157" y="57421"/>
                    <a:pt x="47874" y="44633"/>
                  </a:cubicBezTo>
                  <a:cubicBezTo>
                    <a:pt x="61590" y="31845"/>
                    <a:pt x="79767" y="24831"/>
                    <a:pt x="99143" y="24831"/>
                  </a:cubicBezTo>
                  <a:moveTo>
                    <a:pt x="99143" y="0"/>
                  </a:moveTo>
                  <a:cubicBezTo>
                    <a:pt x="44411" y="0"/>
                    <a:pt x="0" y="41405"/>
                    <a:pt x="0" y="92433"/>
                  </a:cubicBezTo>
                  <a:cubicBezTo>
                    <a:pt x="0" y="143460"/>
                    <a:pt x="44411" y="184865"/>
                    <a:pt x="99143" y="184865"/>
                  </a:cubicBezTo>
                  <a:cubicBezTo>
                    <a:pt x="153875" y="184865"/>
                    <a:pt x="198286" y="143460"/>
                    <a:pt x="198286" y="92433"/>
                  </a:cubicBezTo>
                  <a:cubicBezTo>
                    <a:pt x="198286" y="41405"/>
                    <a:pt x="153941" y="0"/>
                    <a:pt x="99143" y="0"/>
                  </a:cubicBezTo>
                  <a:lnTo>
                    <a:pt x="99143" y="0"/>
                  </a:lnTo>
                  <a:close/>
                </a:path>
              </a:pathLst>
            </a:custGeom>
            <a:solidFill>
              <a:srgbClr val="000000"/>
            </a:solidFill>
            <a:ln w="6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="" xmlns:a16="http://schemas.microsoft.com/office/drawing/2014/main" id="{4FA19186-E2CA-426A-A6DD-D4FB39E90127}"/>
                </a:ext>
              </a:extLst>
            </p:cNvPr>
            <p:cNvSpPr/>
            <p:nvPr/>
          </p:nvSpPr>
          <p:spPr>
            <a:xfrm>
              <a:off x="485030" y="2658812"/>
              <a:ext cx="294632" cy="137314"/>
            </a:xfrm>
            <a:custGeom>
              <a:avLst/>
              <a:gdLst>
                <a:gd name="connsiteX0" fmla="*/ 147283 w 294632"/>
                <a:gd name="connsiteY0" fmla="*/ 24831 h 137314"/>
                <a:gd name="connsiteX1" fmla="*/ 232576 w 294632"/>
                <a:gd name="connsiteY1" fmla="*/ 57794 h 137314"/>
                <a:gd name="connsiteX2" fmla="*/ 265002 w 294632"/>
                <a:gd name="connsiteY2" fmla="*/ 112483 h 137314"/>
                <a:gd name="connsiteX3" fmla="*/ 29563 w 294632"/>
                <a:gd name="connsiteY3" fmla="*/ 112483 h 137314"/>
                <a:gd name="connsiteX4" fmla="*/ 61989 w 294632"/>
                <a:gd name="connsiteY4" fmla="*/ 57794 h 137314"/>
                <a:gd name="connsiteX5" fmla="*/ 147283 w 294632"/>
                <a:gd name="connsiteY5" fmla="*/ 24831 h 137314"/>
                <a:gd name="connsiteX6" fmla="*/ 147283 w 294632"/>
                <a:gd name="connsiteY6" fmla="*/ 0 h 137314"/>
                <a:gd name="connsiteX7" fmla="*/ 0 w 294632"/>
                <a:gd name="connsiteY7" fmla="*/ 137314 h 137314"/>
                <a:gd name="connsiteX8" fmla="*/ 294632 w 294632"/>
                <a:gd name="connsiteY8" fmla="*/ 137314 h 137314"/>
                <a:gd name="connsiteX9" fmla="*/ 147283 w 294632"/>
                <a:gd name="connsiteY9" fmla="*/ 0 h 137314"/>
                <a:gd name="connsiteX10" fmla="*/ 147283 w 294632"/>
                <a:gd name="connsiteY10" fmla="*/ 0 h 137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4632" h="137314">
                  <a:moveTo>
                    <a:pt x="147283" y="24831"/>
                  </a:moveTo>
                  <a:cubicBezTo>
                    <a:pt x="179509" y="24831"/>
                    <a:pt x="209805" y="36563"/>
                    <a:pt x="232576" y="57794"/>
                  </a:cubicBezTo>
                  <a:cubicBezTo>
                    <a:pt x="248956" y="73065"/>
                    <a:pt x="260009" y="91936"/>
                    <a:pt x="265002" y="112483"/>
                  </a:cubicBezTo>
                  <a:lnTo>
                    <a:pt x="29563" y="112483"/>
                  </a:lnTo>
                  <a:cubicBezTo>
                    <a:pt x="34490" y="91936"/>
                    <a:pt x="45610" y="73002"/>
                    <a:pt x="61989" y="57794"/>
                  </a:cubicBezTo>
                  <a:cubicBezTo>
                    <a:pt x="84761" y="36501"/>
                    <a:pt x="115056" y="24831"/>
                    <a:pt x="147283" y="24831"/>
                  </a:cubicBezTo>
                  <a:moveTo>
                    <a:pt x="147283" y="0"/>
                  </a:moveTo>
                  <a:cubicBezTo>
                    <a:pt x="65918" y="0"/>
                    <a:pt x="0" y="61456"/>
                    <a:pt x="0" y="137314"/>
                  </a:cubicBezTo>
                  <a:lnTo>
                    <a:pt x="294632" y="137314"/>
                  </a:lnTo>
                  <a:cubicBezTo>
                    <a:pt x="294632" y="61456"/>
                    <a:pt x="228648" y="0"/>
                    <a:pt x="147283" y="0"/>
                  </a:cubicBezTo>
                  <a:lnTo>
                    <a:pt x="147283" y="0"/>
                  </a:lnTo>
                  <a:close/>
                </a:path>
              </a:pathLst>
            </a:custGeom>
            <a:solidFill>
              <a:srgbClr val="000000"/>
            </a:solidFill>
            <a:ln w="6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3" name="Graphic 47">
            <a:extLst>
              <a:ext uri="{FF2B5EF4-FFF2-40B4-BE49-F238E27FC236}">
                <a16:creationId xmlns="" xmlns:a16="http://schemas.microsoft.com/office/drawing/2014/main" id="{E237CBF8-0E5B-4AB5-AAEC-2781B031BB70}"/>
              </a:ext>
            </a:extLst>
          </p:cNvPr>
          <p:cNvSpPr/>
          <p:nvPr userDrawn="1"/>
        </p:nvSpPr>
        <p:spPr>
          <a:xfrm>
            <a:off x="346675" y="3276585"/>
            <a:ext cx="338600" cy="286778"/>
          </a:xfrm>
          <a:custGeom>
            <a:avLst/>
            <a:gdLst>
              <a:gd name="connsiteX0" fmla="*/ 248022 w 338600"/>
              <a:gd name="connsiteY0" fmla="*/ 51511 h 286778"/>
              <a:gd name="connsiteX1" fmla="*/ 248022 w 338600"/>
              <a:gd name="connsiteY1" fmla="*/ 0 h 286778"/>
              <a:gd name="connsiteX2" fmla="*/ 90516 w 338600"/>
              <a:gd name="connsiteY2" fmla="*/ 0 h 286778"/>
              <a:gd name="connsiteX3" fmla="*/ 90516 w 338600"/>
              <a:gd name="connsiteY3" fmla="*/ 51511 h 286778"/>
              <a:gd name="connsiteX4" fmla="*/ 0 w 338600"/>
              <a:gd name="connsiteY4" fmla="*/ 51511 h 286778"/>
              <a:gd name="connsiteX5" fmla="*/ 0 w 338600"/>
              <a:gd name="connsiteY5" fmla="*/ 286779 h 286778"/>
              <a:gd name="connsiteX6" fmla="*/ 338600 w 338600"/>
              <a:gd name="connsiteY6" fmla="*/ 286779 h 286778"/>
              <a:gd name="connsiteX7" fmla="*/ 338600 w 338600"/>
              <a:gd name="connsiteY7" fmla="*/ 51511 h 286778"/>
              <a:gd name="connsiteX8" fmla="*/ 248022 w 338600"/>
              <a:gd name="connsiteY8" fmla="*/ 51511 h 286778"/>
              <a:gd name="connsiteX9" fmla="*/ 115281 w 338600"/>
              <a:gd name="connsiteY9" fmla="*/ 24765 h 286778"/>
              <a:gd name="connsiteX10" fmla="*/ 223257 w 338600"/>
              <a:gd name="connsiteY10" fmla="*/ 24765 h 286778"/>
              <a:gd name="connsiteX11" fmla="*/ 223257 w 338600"/>
              <a:gd name="connsiteY11" fmla="*/ 51511 h 286778"/>
              <a:gd name="connsiteX12" fmla="*/ 115281 w 338600"/>
              <a:gd name="connsiteY12" fmla="*/ 51511 h 286778"/>
              <a:gd name="connsiteX13" fmla="*/ 115281 w 338600"/>
              <a:gd name="connsiteY13" fmla="*/ 24765 h 286778"/>
              <a:gd name="connsiteX14" fmla="*/ 313835 w 338600"/>
              <a:gd name="connsiteY14" fmla="*/ 262014 h 286778"/>
              <a:gd name="connsiteX15" fmla="*/ 24765 w 338600"/>
              <a:gd name="connsiteY15" fmla="*/ 262014 h 286778"/>
              <a:gd name="connsiteX16" fmla="*/ 24765 w 338600"/>
              <a:gd name="connsiteY16" fmla="*/ 76276 h 286778"/>
              <a:gd name="connsiteX17" fmla="*/ 90516 w 338600"/>
              <a:gd name="connsiteY17" fmla="*/ 76276 h 286778"/>
              <a:gd name="connsiteX18" fmla="*/ 248022 w 338600"/>
              <a:gd name="connsiteY18" fmla="*/ 76276 h 286778"/>
              <a:gd name="connsiteX19" fmla="*/ 313773 w 338600"/>
              <a:gd name="connsiteY19" fmla="*/ 76276 h 286778"/>
              <a:gd name="connsiteX20" fmla="*/ 313773 w 338600"/>
              <a:gd name="connsiteY20" fmla="*/ 262014 h 286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38600" h="286778">
                <a:moveTo>
                  <a:pt x="248022" y="51511"/>
                </a:moveTo>
                <a:lnTo>
                  <a:pt x="248022" y="0"/>
                </a:lnTo>
                <a:lnTo>
                  <a:pt x="90516" y="0"/>
                </a:lnTo>
                <a:lnTo>
                  <a:pt x="90516" y="51511"/>
                </a:lnTo>
                <a:lnTo>
                  <a:pt x="0" y="51511"/>
                </a:lnTo>
                <a:lnTo>
                  <a:pt x="0" y="286779"/>
                </a:lnTo>
                <a:lnTo>
                  <a:pt x="338600" y="286779"/>
                </a:lnTo>
                <a:lnTo>
                  <a:pt x="338600" y="51511"/>
                </a:lnTo>
                <a:lnTo>
                  <a:pt x="248022" y="51511"/>
                </a:lnTo>
                <a:close/>
                <a:moveTo>
                  <a:pt x="115281" y="24765"/>
                </a:moveTo>
                <a:lnTo>
                  <a:pt x="223257" y="24765"/>
                </a:lnTo>
                <a:lnTo>
                  <a:pt x="223257" y="51511"/>
                </a:lnTo>
                <a:lnTo>
                  <a:pt x="115281" y="51511"/>
                </a:lnTo>
                <a:lnTo>
                  <a:pt x="115281" y="24765"/>
                </a:lnTo>
                <a:close/>
                <a:moveTo>
                  <a:pt x="313835" y="262014"/>
                </a:moveTo>
                <a:lnTo>
                  <a:pt x="24765" y="262014"/>
                </a:lnTo>
                <a:lnTo>
                  <a:pt x="24765" y="76276"/>
                </a:lnTo>
                <a:lnTo>
                  <a:pt x="90516" y="76276"/>
                </a:lnTo>
                <a:lnTo>
                  <a:pt x="248022" y="76276"/>
                </a:lnTo>
                <a:lnTo>
                  <a:pt x="313773" y="76276"/>
                </a:lnTo>
                <a:lnTo>
                  <a:pt x="313773" y="262014"/>
                </a:lnTo>
                <a:close/>
              </a:path>
            </a:pathLst>
          </a:custGeom>
          <a:solidFill>
            <a:srgbClr val="010101"/>
          </a:solidFill>
          <a:ln w="609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54" name="Graphic 48">
            <a:extLst>
              <a:ext uri="{FF2B5EF4-FFF2-40B4-BE49-F238E27FC236}">
                <a16:creationId xmlns="" xmlns:a16="http://schemas.microsoft.com/office/drawing/2014/main" id="{439FBF18-73A5-4196-B8EF-2633E0EE9453}"/>
              </a:ext>
            </a:extLst>
          </p:cNvPr>
          <p:cNvGrpSpPr/>
          <p:nvPr userDrawn="1"/>
        </p:nvGrpSpPr>
        <p:grpSpPr>
          <a:xfrm>
            <a:off x="408484" y="4043450"/>
            <a:ext cx="214982" cy="338090"/>
            <a:chOff x="525021" y="4043450"/>
            <a:chExt cx="214982" cy="338090"/>
          </a:xfrm>
          <a:solidFill>
            <a:srgbClr val="000000"/>
          </a:solidFill>
        </p:grpSpPr>
        <p:sp>
          <p:nvSpPr>
            <p:cNvPr id="55" name="Полилиния: фигура 54">
              <a:extLst>
                <a:ext uri="{FF2B5EF4-FFF2-40B4-BE49-F238E27FC236}">
                  <a16:creationId xmlns="" xmlns:a16="http://schemas.microsoft.com/office/drawing/2014/main" id="{F3DA3C9F-F39F-449B-A8ED-EF6510C53454}"/>
                </a:ext>
              </a:extLst>
            </p:cNvPr>
            <p:cNvSpPr/>
            <p:nvPr/>
          </p:nvSpPr>
          <p:spPr>
            <a:xfrm>
              <a:off x="525021" y="4043450"/>
              <a:ext cx="214982" cy="338090"/>
            </a:xfrm>
            <a:custGeom>
              <a:avLst/>
              <a:gdLst>
                <a:gd name="connsiteX0" fmla="*/ 0 w 214982"/>
                <a:gd name="connsiteY0" fmla="*/ 0 h 338090"/>
                <a:gd name="connsiteX1" fmla="*/ 0 w 214982"/>
                <a:gd name="connsiteY1" fmla="*/ 338090 h 338090"/>
                <a:gd name="connsiteX2" fmla="*/ 61248 w 214982"/>
                <a:gd name="connsiteY2" fmla="*/ 338090 h 338090"/>
                <a:gd name="connsiteX3" fmla="*/ 153734 w 214982"/>
                <a:gd name="connsiteY3" fmla="*/ 338090 h 338090"/>
                <a:gd name="connsiteX4" fmla="*/ 214982 w 214982"/>
                <a:gd name="connsiteY4" fmla="*/ 338090 h 338090"/>
                <a:gd name="connsiteX5" fmla="*/ 214982 w 214982"/>
                <a:gd name="connsiteY5" fmla="*/ 0 h 338090"/>
                <a:gd name="connsiteX6" fmla="*/ 0 w 214982"/>
                <a:gd name="connsiteY6" fmla="*/ 0 h 338090"/>
                <a:gd name="connsiteX7" fmla="*/ 85748 w 214982"/>
                <a:gd name="connsiteY7" fmla="*/ 313591 h 338090"/>
                <a:gd name="connsiteX8" fmla="*/ 85748 w 214982"/>
                <a:gd name="connsiteY8" fmla="*/ 225577 h 338090"/>
                <a:gd name="connsiteX9" fmla="*/ 129234 w 214982"/>
                <a:gd name="connsiteY9" fmla="*/ 225577 h 338090"/>
                <a:gd name="connsiteX10" fmla="*/ 129234 w 214982"/>
                <a:gd name="connsiteY10" fmla="*/ 313591 h 338090"/>
                <a:gd name="connsiteX11" fmla="*/ 85748 w 214982"/>
                <a:gd name="connsiteY11" fmla="*/ 313591 h 338090"/>
                <a:gd name="connsiteX12" fmla="*/ 190483 w 214982"/>
                <a:gd name="connsiteY12" fmla="*/ 313591 h 338090"/>
                <a:gd name="connsiteX13" fmla="*/ 153734 w 214982"/>
                <a:gd name="connsiteY13" fmla="*/ 313591 h 338090"/>
                <a:gd name="connsiteX14" fmla="*/ 153734 w 214982"/>
                <a:gd name="connsiteY14" fmla="*/ 201078 h 338090"/>
                <a:gd name="connsiteX15" fmla="*/ 61248 w 214982"/>
                <a:gd name="connsiteY15" fmla="*/ 201078 h 338090"/>
                <a:gd name="connsiteX16" fmla="*/ 61248 w 214982"/>
                <a:gd name="connsiteY16" fmla="*/ 313591 h 338090"/>
                <a:gd name="connsiteX17" fmla="*/ 24499 w 214982"/>
                <a:gd name="connsiteY17" fmla="*/ 313591 h 338090"/>
                <a:gd name="connsiteX18" fmla="*/ 24499 w 214982"/>
                <a:gd name="connsiteY18" fmla="*/ 24499 h 338090"/>
                <a:gd name="connsiteX19" fmla="*/ 190483 w 214982"/>
                <a:gd name="connsiteY19" fmla="*/ 24499 h 338090"/>
                <a:gd name="connsiteX20" fmla="*/ 190483 w 214982"/>
                <a:gd name="connsiteY20" fmla="*/ 313591 h 338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4982" h="338090">
                  <a:moveTo>
                    <a:pt x="0" y="0"/>
                  </a:moveTo>
                  <a:lnTo>
                    <a:pt x="0" y="338090"/>
                  </a:lnTo>
                  <a:lnTo>
                    <a:pt x="61248" y="338090"/>
                  </a:lnTo>
                  <a:lnTo>
                    <a:pt x="153734" y="338090"/>
                  </a:lnTo>
                  <a:lnTo>
                    <a:pt x="214982" y="338090"/>
                  </a:lnTo>
                  <a:lnTo>
                    <a:pt x="214982" y="0"/>
                  </a:lnTo>
                  <a:lnTo>
                    <a:pt x="0" y="0"/>
                  </a:lnTo>
                  <a:close/>
                  <a:moveTo>
                    <a:pt x="85748" y="313591"/>
                  </a:moveTo>
                  <a:lnTo>
                    <a:pt x="85748" y="225577"/>
                  </a:lnTo>
                  <a:lnTo>
                    <a:pt x="129234" y="225577"/>
                  </a:lnTo>
                  <a:lnTo>
                    <a:pt x="129234" y="313591"/>
                  </a:lnTo>
                  <a:lnTo>
                    <a:pt x="85748" y="313591"/>
                  </a:lnTo>
                  <a:close/>
                  <a:moveTo>
                    <a:pt x="190483" y="313591"/>
                  </a:moveTo>
                  <a:lnTo>
                    <a:pt x="153734" y="313591"/>
                  </a:lnTo>
                  <a:lnTo>
                    <a:pt x="153734" y="201078"/>
                  </a:lnTo>
                  <a:lnTo>
                    <a:pt x="61248" y="201078"/>
                  </a:lnTo>
                  <a:lnTo>
                    <a:pt x="61248" y="313591"/>
                  </a:lnTo>
                  <a:lnTo>
                    <a:pt x="24499" y="313591"/>
                  </a:lnTo>
                  <a:lnTo>
                    <a:pt x="24499" y="24499"/>
                  </a:lnTo>
                  <a:lnTo>
                    <a:pt x="190483" y="24499"/>
                  </a:lnTo>
                  <a:lnTo>
                    <a:pt x="190483" y="313591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: фигура 55">
              <a:extLst>
                <a:ext uri="{FF2B5EF4-FFF2-40B4-BE49-F238E27FC236}">
                  <a16:creationId xmlns="" xmlns:a16="http://schemas.microsoft.com/office/drawing/2014/main" id="{D84942EA-7357-46BA-8B3D-B8D936538AF1}"/>
                </a:ext>
              </a:extLst>
            </p:cNvPr>
            <p:cNvSpPr/>
            <p:nvPr/>
          </p:nvSpPr>
          <p:spPr>
            <a:xfrm>
              <a:off x="586330" y="4190629"/>
              <a:ext cx="92362" cy="24499"/>
            </a:xfrm>
            <a:custGeom>
              <a:avLst/>
              <a:gdLst>
                <a:gd name="connsiteX0" fmla="*/ 0 w 92362"/>
                <a:gd name="connsiteY0" fmla="*/ 0 h 24499"/>
                <a:gd name="connsiteX1" fmla="*/ 92363 w 92362"/>
                <a:gd name="connsiteY1" fmla="*/ 0 h 24499"/>
                <a:gd name="connsiteX2" fmla="*/ 92363 w 92362"/>
                <a:gd name="connsiteY2" fmla="*/ 24499 h 24499"/>
                <a:gd name="connsiteX3" fmla="*/ 0 w 92362"/>
                <a:gd name="connsiteY3" fmla="*/ 24499 h 2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62" h="24499">
                  <a:moveTo>
                    <a:pt x="0" y="0"/>
                  </a:moveTo>
                  <a:lnTo>
                    <a:pt x="92363" y="0"/>
                  </a:lnTo>
                  <a:lnTo>
                    <a:pt x="92363" y="24499"/>
                  </a:lnTo>
                  <a:lnTo>
                    <a:pt x="0" y="24499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: фигура 56">
              <a:extLst>
                <a:ext uri="{FF2B5EF4-FFF2-40B4-BE49-F238E27FC236}">
                  <a16:creationId xmlns="" xmlns:a16="http://schemas.microsoft.com/office/drawing/2014/main" id="{DBE95EAE-3988-4364-BF67-C311AC08D39B}"/>
                </a:ext>
              </a:extLst>
            </p:cNvPr>
            <p:cNvSpPr/>
            <p:nvPr/>
          </p:nvSpPr>
          <p:spPr>
            <a:xfrm>
              <a:off x="586330" y="4144387"/>
              <a:ext cx="92362" cy="24499"/>
            </a:xfrm>
            <a:custGeom>
              <a:avLst/>
              <a:gdLst>
                <a:gd name="connsiteX0" fmla="*/ 0 w 92362"/>
                <a:gd name="connsiteY0" fmla="*/ 0 h 24499"/>
                <a:gd name="connsiteX1" fmla="*/ 92363 w 92362"/>
                <a:gd name="connsiteY1" fmla="*/ 0 h 24499"/>
                <a:gd name="connsiteX2" fmla="*/ 92363 w 92362"/>
                <a:gd name="connsiteY2" fmla="*/ 24499 h 24499"/>
                <a:gd name="connsiteX3" fmla="*/ 0 w 92362"/>
                <a:gd name="connsiteY3" fmla="*/ 24499 h 2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62" h="24499">
                  <a:moveTo>
                    <a:pt x="0" y="0"/>
                  </a:moveTo>
                  <a:lnTo>
                    <a:pt x="92363" y="0"/>
                  </a:lnTo>
                  <a:lnTo>
                    <a:pt x="92363" y="24499"/>
                  </a:lnTo>
                  <a:lnTo>
                    <a:pt x="0" y="24499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Полилиния: фигура 57">
              <a:extLst>
                <a:ext uri="{FF2B5EF4-FFF2-40B4-BE49-F238E27FC236}">
                  <a16:creationId xmlns="" xmlns:a16="http://schemas.microsoft.com/office/drawing/2014/main" id="{ECF32E63-2181-4CB6-8738-A23F4F50DDEC}"/>
                </a:ext>
              </a:extLst>
            </p:cNvPr>
            <p:cNvSpPr/>
            <p:nvPr/>
          </p:nvSpPr>
          <p:spPr>
            <a:xfrm>
              <a:off x="586330" y="4098144"/>
              <a:ext cx="92362" cy="24499"/>
            </a:xfrm>
            <a:custGeom>
              <a:avLst/>
              <a:gdLst>
                <a:gd name="connsiteX0" fmla="*/ 0 w 92362"/>
                <a:gd name="connsiteY0" fmla="*/ 0 h 24499"/>
                <a:gd name="connsiteX1" fmla="*/ 92363 w 92362"/>
                <a:gd name="connsiteY1" fmla="*/ 0 h 24499"/>
                <a:gd name="connsiteX2" fmla="*/ 92363 w 92362"/>
                <a:gd name="connsiteY2" fmla="*/ 24499 h 24499"/>
                <a:gd name="connsiteX3" fmla="*/ 0 w 92362"/>
                <a:gd name="connsiteY3" fmla="*/ 24499 h 2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62" h="24499">
                  <a:moveTo>
                    <a:pt x="0" y="0"/>
                  </a:moveTo>
                  <a:lnTo>
                    <a:pt x="92363" y="0"/>
                  </a:lnTo>
                  <a:lnTo>
                    <a:pt x="92363" y="24499"/>
                  </a:lnTo>
                  <a:lnTo>
                    <a:pt x="0" y="24499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9" name="Graphic 20">
            <a:extLst>
              <a:ext uri="{FF2B5EF4-FFF2-40B4-BE49-F238E27FC236}">
                <a16:creationId xmlns="" xmlns:a16="http://schemas.microsoft.com/office/drawing/2014/main" id="{62CAC237-F2C3-4F18-8FA7-00048FF6DD28}"/>
              </a:ext>
            </a:extLst>
          </p:cNvPr>
          <p:cNvSpPr/>
          <p:nvPr userDrawn="1"/>
        </p:nvSpPr>
        <p:spPr>
          <a:xfrm>
            <a:off x="409004" y="4861750"/>
            <a:ext cx="213943" cy="336458"/>
          </a:xfrm>
          <a:custGeom>
            <a:avLst/>
            <a:gdLst>
              <a:gd name="connsiteX0" fmla="*/ 0 w 213943"/>
              <a:gd name="connsiteY0" fmla="*/ 0 h 336458"/>
              <a:gd name="connsiteX1" fmla="*/ 0 w 213943"/>
              <a:gd name="connsiteY1" fmla="*/ 336458 h 336458"/>
              <a:gd name="connsiteX2" fmla="*/ 213944 w 213943"/>
              <a:gd name="connsiteY2" fmla="*/ 336458 h 336458"/>
              <a:gd name="connsiteX3" fmla="*/ 213944 w 213943"/>
              <a:gd name="connsiteY3" fmla="*/ 0 h 336458"/>
              <a:gd name="connsiteX4" fmla="*/ 0 w 213943"/>
              <a:gd name="connsiteY4" fmla="*/ 0 h 336458"/>
              <a:gd name="connsiteX5" fmla="*/ 189563 w 213943"/>
              <a:gd name="connsiteY5" fmla="*/ 24381 h 336458"/>
              <a:gd name="connsiteX6" fmla="*/ 189563 w 213943"/>
              <a:gd name="connsiteY6" fmla="*/ 248260 h 336458"/>
              <a:gd name="connsiteX7" fmla="*/ 24381 w 213943"/>
              <a:gd name="connsiteY7" fmla="*/ 248260 h 336458"/>
              <a:gd name="connsiteX8" fmla="*/ 24381 w 213943"/>
              <a:gd name="connsiteY8" fmla="*/ 24381 h 336458"/>
              <a:gd name="connsiteX9" fmla="*/ 189563 w 213943"/>
              <a:gd name="connsiteY9" fmla="*/ 24381 h 336458"/>
              <a:gd name="connsiteX10" fmla="*/ 24381 w 213943"/>
              <a:gd name="connsiteY10" fmla="*/ 312077 h 336458"/>
              <a:gd name="connsiteX11" fmla="*/ 24381 w 213943"/>
              <a:gd name="connsiteY11" fmla="*/ 272641 h 336458"/>
              <a:gd name="connsiteX12" fmla="*/ 189563 w 213943"/>
              <a:gd name="connsiteY12" fmla="*/ 272641 h 336458"/>
              <a:gd name="connsiteX13" fmla="*/ 189563 w 213943"/>
              <a:gd name="connsiteY13" fmla="*/ 312077 h 336458"/>
              <a:gd name="connsiteX14" fmla="*/ 24381 w 213943"/>
              <a:gd name="connsiteY14" fmla="*/ 312077 h 336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13943" h="336458">
                <a:moveTo>
                  <a:pt x="0" y="0"/>
                </a:moveTo>
                <a:lnTo>
                  <a:pt x="0" y="336458"/>
                </a:lnTo>
                <a:lnTo>
                  <a:pt x="213944" y="336458"/>
                </a:lnTo>
                <a:lnTo>
                  <a:pt x="213944" y="0"/>
                </a:lnTo>
                <a:lnTo>
                  <a:pt x="0" y="0"/>
                </a:lnTo>
                <a:close/>
                <a:moveTo>
                  <a:pt x="189563" y="24381"/>
                </a:moveTo>
                <a:lnTo>
                  <a:pt x="189563" y="248260"/>
                </a:lnTo>
                <a:lnTo>
                  <a:pt x="24381" y="248260"/>
                </a:lnTo>
                <a:lnTo>
                  <a:pt x="24381" y="24381"/>
                </a:lnTo>
                <a:lnTo>
                  <a:pt x="189563" y="24381"/>
                </a:lnTo>
                <a:close/>
                <a:moveTo>
                  <a:pt x="24381" y="312077"/>
                </a:moveTo>
                <a:lnTo>
                  <a:pt x="24381" y="272641"/>
                </a:lnTo>
                <a:lnTo>
                  <a:pt x="189563" y="272641"/>
                </a:lnTo>
                <a:lnTo>
                  <a:pt x="189563" y="312077"/>
                </a:lnTo>
                <a:lnTo>
                  <a:pt x="24381" y="312077"/>
                </a:lnTo>
                <a:close/>
              </a:path>
            </a:pathLst>
          </a:custGeom>
          <a:solidFill>
            <a:srgbClr val="000000"/>
          </a:solidFill>
          <a:ln w="59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0" name="Graphic 21">
            <a:extLst>
              <a:ext uri="{FF2B5EF4-FFF2-40B4-BE49-F238E27FC236}">
                <a16:creationId xmlns="" xmlns:a16="http://schemas.microsoft.com/office/drawing/2014/main" id="{280E6312-5D35-434E-8693-6462F8492510}"/>
              </a:ext>
            </a:extLst>
          </p:cNvPr>
          <p:cNvSpPr/>
          <p:nvPr userDrawn="1"/>
        </p:nvSpPr>
        <p:spPr>
          <a:xfrm>
            <a:off x="349298" y="5674517"/>
            <a:ext cx="333355" cy="231619"/>
          </a:xfrm>
          <a:custGeom>
            <a:avLst/>
            <a:gdLst>
              <a:gd name="connsiteX0" fmla="*/ 0 w 333355"/>
              <a:gd name="connsiteY0" fmla="*/ 0 h 231619"/>
              <a:gd name="connsiteX1" fmla="*/ 0 w 333355"/>
              <a:gd name="connsiteY1" fmla="*/ 231620 h 231619"/>
              <a:gd name="connsiteX2" fmla="*/ 333355 w 333355"/>
              <a:gd name="connsiteY2" fmla="*/ 231620 h 231619"/>
              <a:gd name="connsiteX3" fmla="*/ 333355 w 333355"/>
              <a:gd name="connsiteY3" fmla="*/ 0 h 231619"/>
              <a:gd name="connsiteX4" fmla="*/ 0 w 333355"/>
              <a:gd name="connsiteY4" fmla="*/ 0 h 231619"/>
              <a:gd name="connsiteX5" fmla="*/ 291663 w 333355"/>
              <a:gd name="connsiteY5" fmla="*/ 24381 h 231619"/>
              <a:gd name="connsiteX6" fmla="*/ 166464 w 333355"/>
              <a:gd name="connsiteY6" fmla="*/ 149273 h 231619"/>
              <a:gd name="connsiteX7" fmla="*/ 41631 w 333355"/>
              <a:gd name="connsiteY7" fmla="*/ 24381 h 231619"/>
              <a:gd name="connsiteX8" fmla="*/ 291663 w 333355"/>
              <a:gd name="connsiteY8" fmla="*/ 24381 h 231619"/>
              <a:gd name="connsiteX9" fmla="*/ 24381 w 333355"/>
              <a:gd name="connsiteY9" fmla="*/ 207239 h 231619"/>
              <a:gd name="connsiteX10" fmla="*/ 24381 w 333355"/>
              <a:gd name="connsiteY10" fmla="*/ 41631 h 231619"/>
              <a:gd name="connsiteX11" fmla="*/ 166464 w 333355"/>
              <a:gd name="connsiteY11" fmla="*/ 183711 h 231619"/>
              <a:gd name="connsiteX12" fmla="*/ 308974 w 333355"/>
              <a:gd name="connsiteY12" fmla="*/ 41570 h 231619"/>
              <a:gd name="connsiteX13" fmla="*/ 308974 w 333355"/>
              <a:gd name="connsiteY13" fmla="*/ 207239 h 231619"/>
              <a:gd name="connsiteX14" fmla="*/ 24381 w 333355"/>
              <a:gd name="connsiteY14" fmla="*/ 207239 h 231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33355" h="231619">
                <a:moveTo>
                  <a:pt x="0" y="0"/>
                </a:moveTo>
                <a:lnTo>
                  <a:pt x="0" y="231620"/>
                </a:lnTo>
                <a:lnTo>
                  <a:pt x="333355" y="231620"/>
                </a:lnTo>
                <a:lnTo>
                  <a:pt x="333355" y="0"/>
                </a:lnTo>
                <a:lnTo>
                  <a:pt x="0" y="0"/>
                </a:lnTo>
                <a:close/>
                <a:moveTo>
                  <a:pt x="291663" y="24381"/>
                </a:moveTo>
                <a:lnTo>
                  <a:pt x="166464" y="149273"/>
                </a:lnTo>
                <a:lnTo>
                  <a:pt x="41631" y="24381"/>
                </a:lnTo>
                <a:lnTo>
                  <a:pt x="291663" y="24381"/>
                </a:lnTo>
                <a:close/>
                <a:moveTo>
                  <a:pt x="24381" y="207239"/>
                </a:moveTo>
                <a:lnTo>
                  <a:pt x="24381" y="41631"/>
                </a:lnTo>
                <a:lnTo>
                  <a:pt x="166464" y="183711"/>
                </a:lnTo>
                <a:lnTo>
                  <a:pt x="308974" y="41570"/>
                </a:lnTo>
                <a:lnTo>
                  <a:pt x="308974" y="207239"/>
                </a:lnTo>
                <a:lnTo>
                  <a:pt x="24381" y="207239"/>
                </a:lnTo>
                <a:close/>
              </a:path>
            </a:pathLst>
          </a:custGeom>
          <a:solidFill>
            <a:srgbClr val="000000"/>
          </a:solidFill>
          <a:ln w="609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61" name="Graphic 9">
            <a:extLst>
              <a:ext uri="{FF2B5EF4-FFF2-40B4-BE49-F238E27FC236}">
                <a16:creationId xmlns="" xmlns:a16="http://schemas.microsoft.com/office/drawing/2014/main" id="{C1BA1543-9939-4563-B956-6A9308CE98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5881" y="530424"/>
            <a:ext cx="1139865" cy="178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0714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_Титул (Поезд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6F9FAA6C-F5B5-4374-9F07-560C93D7DCD7}"/>
              </a:ext>
            </a:extLst>
          </p:cNvPr>
          <p:cNvSpPr/>
          <p:nvPr userDrawn="1"/>
        </p:nvSpPr>
        <p:spPr>
          <a:xfrm>
            <a:off x="8227817" y="0"/>
            <a:ext cx="916185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609EA179-C047-4D7C-9DA2-D4329FDD0CC1}"/>
              </a:ext>
            </a:extLst>
          </p:cNvPr>
          <p:cNvSpPr/>
          <p:nvPr userDrawn="1"/>
        </p:nvSpPr>
        <p:spPr>
          <a:xfrm flipH="1" flipV="1">
            <a:off x="1714502" y="5257800"/>
            <a:ext cx="6513315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DE199A19-C204-4190-BEC6-6331F05E38C5}"/>
              </a:ext>
            </a:extLst>
          </p:cNvPr>
          <p:cNvSpPr/>
          <p:nvPr userDrawn="1"/>
        </p:nvSpPr>
        <p:spPr>
          <a:xfrm flipH="1" flipV="1">
            <a:off x="0" y="6411912"/>
            <a:ext cx="1714500" cy="446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39" name="Graphic 22">
            <a:extLst>
              <a:ext uri="{FF2B5EF4-FFF2-40B4-BE49-F238E27FC236}">
                <a16:creationId xmlns="" xmlns:a16="http://schemas.microsoft.com/office/drawing/2014/main" id="{F958D097-B5A6-4B84-BAF2-5762595943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grpSp>
        <p:nvGrpSpPr>
          <p:cNvPr id="44" name="Graphic 21">
            <a:extLst>
              <a:ext uri="{FF2B5EF4-FFF2-40B4-BE49-F238E27FC236}">
                <a16:creationId xmlns="" xmlns:a16="http://schemas.microsoft.com/office/drawing/2014/main" id="{FE968F2A-17F8-46FB-94B9-459B649F7477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="" xmlns:a16="http://schemas.microsoft.com/office/drawing/2014/main" id="{E4D74E97-8950-463A-9CD0-DB05A85AC56F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="" xmlns:a16="http://schemas.microsoft.com/office/drawing/2014/main" id="{F8C8A447-6B69-4A20-B6C1-C4E16BB3D842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7" name="Graphic 20">
            <a:extLst>
              <a:ext uri="{FF2B5EF4-FFF2-40B4-BE49-F238E27FC236}">
                <a16:creationId xmlns="" xmlns:a16="http://schemas.microsoft.com/office/drawing/2014/main" id="{E961782C-E94B-4001-8323-1D93C449A6EF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8" name="Полилиния: фигура 47">
              <a:extLst>
                <a:ext uri="{FF2B5EF4-FFF2-40B4-BE49-F238E27FC236}">
                  <a16:creationId xmlns="" xmlns:a16="http://schemas.microsoft.com/office/drawing/2014/main" id="{6318E3FB-33FC-4D61-B975-C061764E063D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="" xmlns:a16="http://schemas.microsoft.com/office/drawing/2014/main" id="{1F76C3E9-C3C9-43DD-B751-EEC987A7F845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="" xmlns:a16="http://schemas.microsoft.com/office/drawing/2014/main" id="{53B392B4-D095-480F-8CE4-8E279C4BC5D9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="" xmlns:a16="http://schemas.microsoft.com/office/drawing/2014/main" id="{49478ED7-DAC9-478C-A34A-59F1D822461C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="" xmlns:a16="http://schemas.microsoft.com/office/drawing/2014/main" id="{C1605B3E-A332-4FEF-A353-D7E11F92AC79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="" xmlns:a16="http://schemas.microsoft.com/office/drawing/2014/main" id="{819A7AE7-CC2D-439D-B5B4-52C3B6D008E4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="" xmlns:a16="http://schemas.microsoft.com/office/drawing/2014/main" id="{3C639498-69CF-437F-86B7-61CD2974B37C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5" name="Title 1">
            <a:extLst>
              <a:ext uri="{FF2B5EF4-FFF2-40B4-BE49-F238E27FC236}">
                <a16:creationId xmlns="" xmlns:a16="http://schemas.microsoft.com/office/drawing/2014/main" id="{E413F0B2-311C-4717-BD27-B519062340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56" name="Subtitle 2">
            <a:extLst>
              <a:ext uri="{FF2B5EF4-FFF2-40B4-BE49-F238E27FC236}">
                <a16:creationId xmlns="" xmlns:a16="http://schemas.microsoft.com/office/drawing/2014/main" id="{56F58C8D-F98C-4160-9C3C-1387C5EE42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pic>
        <p:nvPicPr>
          <p:cNvPr id="59" name="Picture 16" descr="A close up of a train&#10;&#10;Description automatically generated">
            <a:extLst>
              <a:ext uri="{FF2B5EF4-FFF2-40B4-BE49-F238E27FC236}">
                <a16:creationId xmlns="" xmlns:a16="http://schemas.microsoft.com/office/drawing/2014/main" id="{1FBFE71F-7027-49E4-A0E0-1E4CC6CA06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9925" y="3784247"/>
            <a:ext cx="5934075" cy="2618140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CC8A53CA-FBBF-4AFD-9D47-70F588970A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6" name="Text Placeholder 4">
            <a:extLst>
              <a:ext uri="{FF2B5EF4-FFF2-40B4-BE49-F238E27FC236}">
                <a16:creationId xmlns="" xmlns:a16="http://schemas.microsoft.com/office/drawing/2014/main" id="{E06403F3-2C73-4FAA-94A6-2F4934AC77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93078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_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4">
            <a:extLst>
              <a:ext uri="{FF2B5EF4-FFF2-40B4-BE49-F238E27FC236}">
                <a16:creationId xmlns="" xmlns:a16="http://schemas.microsoft.com/office/drawing/2014/main" id="{2BF1AD02-4937-475A-A95A-A58946F5ACE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5001" y="7"/>
            <a:ext cx="3419001" cy="547151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lang="en-US">
                <a:solidFill>
                  <a:sysClr val="windowText" lastClr="000000"/>
                </a:solidFill>
              </a:defRPr>
            </a:lvl1pPr>
          </a:lstStyle>
          <a:p>
            <a:pPr marL="107991" lvl="0" indent="-107991"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F666E99C-E850-4B71-BE01-59C1D4FD2CC1}"/>
              </a:ext>
            </a:extLst>
          </p:cNvPr>
          <p:cNvSpPr/>
          <p:nvPr userDrawn="1"/>
        </p:nvSpPr>
        <p:spPr>
          <a:xfrm rot="5400000">
            <a:off x="-57769" y="6453611"/>
            <a:ext cx="462163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C4C93761-35A0-4469-8304-7C5F0B4D3F27}"/>
              </a:ext>
            </a:extLst>
          </p:cNvPr>
          <p:cNvSpPr/>
          <p:nvPr userDrawn="1"/>
        </p:nvSpPr>
        <p:spPr>
          <a:xfrm rot="5400000">
            <a:off x="2804731" y="3475573"/>
            <a:ext cx="462163" cy="5378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F0976336-608D-45E1-86B0-AF885E9CA4A4}"/>
              </a:ext>
            </a:extLst>
          </p:cNvPr>
          <p:cNvSpPr/>
          <p:nvPr userDrawn="1"/>
        </p:nvSpPr>
        <p:spPr>
          <a:xfrm rot="5400000">
            <a:off x="7203420" y="3993096"/>
            <a:ext cx="462163" cy="3419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26" name="Graphic 22">
            <a:extLst>
              <a:ext uri="{FF2B5EF4-FFF2-40B4-BE49-F238E27FC236}">
                <a16:creationId xmlns="" xmlns:a16="http://schemas.microsoft.com/office/drawing/2014/main" id="{6C53C888-00F4-4CF1-9FD6-7EC9AF7D42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="" xmlns:a16="http://schemas.microsoft.com/office/drawing/2014/main" id="{EDF7D401-54FC-4E78-AB90-274C78B1AD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36" name="Subtitle 2">
            <a:extLst>
              <a:ext uri="{FF2B5EF4-FFF2-40B4-BE49-F238E27FC236}">
                <a16:creationId xmlns="" xmlns:a16="http://schemas.microsoft.com/office/drawing/2014/main" id="{3086CC00-326B-43AC-A4C1-6202C8F4C22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grpSp>
        <p:nvGrpSpPr>
          <p:cNvPr id="39" name="Graphic 21">
            <a:extLst>
              <a:ext uri="{FF2B5EF4-FFF2-40B4-BE49-F238E27FC236}">
                <a16:creationId xmlns="" xmlns:a16="http://schemas.microsoft.com/office/drawing/2014/main" id="{662FF62E-8AE5-4321-8728-3984AE9DA7A6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0" name="Полилиния: фигура 39">
              <a:extLst>
                <a:ext uri="{FF2B5EF4-FFF2-40B4-BE49-F238E27FC236}">
                  <a16:creationId xmlns="" xmlns:a16="http://schemas.microsoft.com/office/drawing/2014/main" id="{545C7120-B672-4573-900A-BB6F62E0EA76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0">
              <a:extLst>
                <a:ext uri="{FF2B5EF4-FFF2-40B4-BE49-F238E27FC236}">
                  <a16:creationId xmlns="" xmlns:a16="http://schemas.microsoft.com/office/drawing/2014/main" id="{A6952D66-C27B-4A3D-AD2C-A750256A2D6E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2" name="Graphic 20">
            <a:extLst>
              <a:ext uri="{FF2B5EF4-FFF2-40B4-BE49-F238E27FC236}">
                <a16:creationId xmlns="" xmlns:a16="http://schemas.microsoft.com/office/drawing/2014/main" id="{F5F239BF-F2BD-4198-887D-1B65039EE3AF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3" name="Полилиния: фигура 42">
              <a:extLst>
                <a:ext uri="{FF2B5EF4-FFF2-40B4-BE49-F238E27FC236}">
                  <a16:creationId xmlns="" xmlns:a16="http://schemas.microsoft.com/office/drawing/2014/main" id="{29992145-E632-4B4C-942C-7D8920B7251C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="" xmlns:a16="http://schemas.microsoft.com/office/drawing/2014/main" id="{26D2D7E5-059D-4306-8E81-4A7CCA06B977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="" xmlns:a16="http://schemas.microsoft.com/office/drawing/2014/main" id="{5C3E358C-EC85-473B-A764-ACF90E6BDE0E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="" xmlns:a16="http://schemas.microsoft.com/office/drawing/2014/main" id="{FD5532E7-85D6-445E-9A36-935263D85981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="" xmlns:a16="http://schemas.microsoft.com/office/drawing/2014/main" id="{D15E5EFE-267C-40CF-BF4A-33BCEF251EEA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="" xmlns:a16="http://schemas.microsoft.com/office/drawing/2014/main" id="{5CE024D5-F377-4164-BDC5-F4F14CDB9AA4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="" xmlns:a16="http://schemas.microsoft.com/office/drawing/2014/main" id="{D519A33A-24C2-4F8B-BCE8-FF7FBC73DA88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DD2E0606-1E0F-4590-8169-507A850A09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="" xmlns:a16="http://schemas.microsoft.com/office/drawing/2014/main" id="{BE459CFA-5ECA-44EC-83DC-0E56E467D6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8719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_Титул (Рудни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FA8D8901-F10F-4803-9000-2B00DAE8C2C6}"/>
              </a:ext>
            </a:extLst>
          </p:cNvPr>
          <p:cNvSpPr/>
          <p:nvPr userDrawn="1"/>
        </p:nvSpPr>
        <p:spPr>
          <a:xfrm rot="5400000">
            <a:off x="-57769" y="6453611"/>
            <a:ext cx="462163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FBD7B5BB-3DED-449A-A48F-CD6F02640ADE}"/>
              </a:ext>
            </a:extLst>
          </p:cNvPr>
          <p:cNvSpPr/>
          <p:nvPr userDrawn="1"/>
        </p:nvSpPr>
        <p:spPr>
          <a:xfrm rot="5400000">
            <a:off x="2804731" y="3475573"/>
            <a:ext cx="462163" cy="5378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4E0B9702-EC88-46B2-A10B-5AC089B0023F}"/>
              </a:ext>
            </a:extLst>
          </p:cNvPr>
          <p:cNvSpPr/>
          <p:nvPr userDrawn="1"/>
        </p:nvSpPr>
        <p:spPr>
          <a:xfrm rot="5400000">
            <a:off x="7203420" y="3993096"/>
            <a:ext cx="462163" cy="3419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36" name="Graphic 22">
            <a:extLst>
              <a:ext uri="{FF2B5EF4-FFF2-40B4-BE49-F238E27FC236}">
                <a16:creationId xmlns="" xmlns:a16="http://schemas.microsoft.com/office/drawing/2014/main" id="{C1144B3E-E36E-4A3D-A98B-7F59673E7C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37" name="Title 1">
            <a:extLst>
              <a:ext uri="{FF2B5EF4-FFF2-40B4-BE49-F238E27FC236}">
                <a16:creationId xmlns="" xmlns:a16="http://schemas.microsoft.com/office/drawing/2014/main" id="{79796392-61F7-4C4F-BB84-F7C142B33B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38" name="Subtitle 2">
            <a:extLst>
              <a:ext uri="{FF2B5EF4-FFF2-40B4-BE49-F238E27FC236}">
                <a16:creationId xmlns="" xmlns:a16="http://schemas.microsoft.com/office/drawing/2014/main" id="{DB0DCF21-F349-4FC8-AE31-AEE4E32C6B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grpSp>
        <p:nvGrpSpPr>
          <p:cNvPr id="41" name="Graphic 21">
            <a:extLst>
              <a:ext uri="{FF2B5EF4-FFF2-40B4-BE49-F238E27FC236}">
                <a16:creationId xmlns="" xmlns:a16="http://schemas.microsoft.com/office/drawing/2014/main" id="{624ACF2A-C95F-4290-AFBF-EA7A0508A7B2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2" name="Полилиния: фигура 41">
              <a:extLst>
                <a:ext uri="{FF2B5EF4-FFF2-40B4-BE49-F238E27FC236}">
                  <a16:creationId xmlns="" xmlns:a16="http://schemas.microsoft.com/office/drawing/2014/main" id="{3110D917-4412-40E6-82EA-66F1194318A7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="" xmlns:a16="http://schemas.microsoft.com/office/drawing/2014/main" id="{94050000-4A3A-4A5E-A79B-15D04246A230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4" name="Graphic 20">
            <a:extLst>
              <a:ext uri="{FF2B5EF4-FFF2-40B4-BE49-F238E27FC236}">
                <a16:creationId xmlns="" xmlns:a16="http://schemas.microsoft.com/office/drawing/2014/main" id="{86FF7E76-4F05-4684-B5E7-C2B4A845290F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="" xmlns:a16="http://schemas.microsoft.com/office/drawing/2014/main" id="{DEE3520D-0108-4C5E-AC79-42393CB9D703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="" xmlns:a16="http://schemas.microsoft.com/office/drawing/2014/main" id="{3A6B2641-7C01-4163-862E-AA665F37FE7A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="" xmlns:a16="http://schemas.microsoft.com/office/drawing/2014/main" id="{5E4BA67B-E826-4147-94BC-2AC2F9C6109C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="" xmlns:a16="http://schemas.microsoft.com/office/drawing/2014/main" id="{FBA8C426-A7F8-4B4C-BBCA-78CCA072EFD2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="" xmlns:a16="http://schemas.microsoft.com/office/drawing/2014/main" id="{742A9DD2-9AF6-4FD4-8303-6BEE239AE6E6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="" xmlns:a16="http://schemas.microsoft.com/office/drawing/2014/main" id="{9D9557B9-0677-40D8-8B09-3CE986F10259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="" xmlns:a16="http://schemas.microsoft.com/office/drawing/2014/main" id="{80B1B519-6770-41FF-9B18-7133731948ED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53" name="Picture 14" descr="A picture containing snow, outdoor, grass, track&#10;&#10;Description automatically generated">
            <a:extLst>
              <a:ext uri="{FF2B5EF4-FFF2-40B4-BE49-F238E27FC236}">
                <a16:creationId xmlns="" xmlns:a16="http://schemas.microsoft.com/office/drawing/2014/main" id="{79348C59-1B8A-4681-A50E-9E4185DA52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997" y="0"/>
            <a:ext cx="3419003" cy="5471160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0D058868-4092-458A-9C45-1467CDC358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B1E7E165-2467-42C2-B17B-9A828FB6AF9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9291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_Титул (Челове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979493D8-0F51-4ACC-81E0-00478C4A6281}"/>
              </a:ext>
            </a:extLst>
          </p:cNvPr>
          <p:cNvSpPr/>
          <p:nvPr userDrawn="1"/>
        </p:nvSpPr>
        <p:spPr>
          <a:xfrm rot="5400000">
            <a:off x="-57769" y="6453611"/>
            <a:ext cx="462163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7869EA0D-E04D-4363-9504-9D1103C7B5AB}"/>
              </a:ext>
            </a:extLst>
          </p:cNvPr>
          <p:cNvSpPr/>
          <p:nvPr userDrawn="1"/>
        </p:nvSpPr>
        <p:spPr>
          <a:xfrm rot="5400000">
            <a:off x="2804731" y="3475573"/>
            <a:ext cx="462163" cy="5378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D0D9B9B6-3BBA-4604-A370-0011B26AE0FE}"/>
              </a:ext>
            </a:extLst>
          </p:cNvPr>
          <p:cNvSpPr/>
          <p:nvPr userDrawn="1"/>
        </p:nvSpPr>
        <p:spPr>
          <a:xfrm rot="5400000">
            <a:off x="7203420" y="3993096"/>
            <a:ext cx="462163" cy="3419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35" name="Graphic 22">
            <a:extLst>
              <a:ext uri="{FF2B5EF4-FFF2-40B4-BE49-F238E27FC236}">
                <a16:creationId xmlns="" xmlns:a16="http://schemas.microsoft.com/office/drawing/2014/main" id="{D4D31E55-00BE-457D-9F5E-BC944C3FA3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36" name="Title 1">
            <a:extLst>
              <a:ext uri="{FF2B5EF4-FFF2-40B4-BE49-F238E27FC236}">
                <a16:creationId xmlns="" xmlns:a16="http://schemas.microsoft.com/office/drawing/2014/main" id="{2D346659-2570-4C1B-8DB5-584B5029B65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37" name="Subtitle 2">
            <a:extLst>
              <a:ext uri="{FF2B5EF4-FFF2-40B4-BE49-F238E27FC236}">
                <a16:creationId xmlns="" xmlns:a16="http://schemas.microsoft.com/office/drawing/2014/main" id="{2874B0DA-4850-4CE9-AD7A-D3B5264BAEB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grpSp>
        <p:nvGrpSpPr>
          <p:cNvPr id="40" name="Graphic 21">
            <a:extLst>
              <a:ext uri="{FF2B5EF4-FFF2-40B4-BE49-F238E27FC236}">
                <a16:creationId xmlns="" xmlns:a16="http://schemas.microsoft.com/office/drawing/2014/main" id="{80E975BF-FABC-4748-8FCF-F8FE61FE9725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1" name="Полилиния: фигура 40">
              <a:extLst>
                <a:ext uri="{FF2B5EF4-FFF2-40B4-BE49-F238E27FC236}">
                  <a16:creationId xmlns="" xmlns:a16="http://schemas.microsoft.com/office/drawing/2014/main" id="{9DAE1F6E-96DB-4142-8ED9-F12A96EF4535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="" xmlns:a16="http://schemas.microsoft.com/office/drawing/2014/main" id="{9EC737C3-ACC1-4B20-B17A-70A203140A37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3" name="Graphic 20">
            <a:extLst>
              <a:ext uri="{FF2B5EF4-FFF2-40B4-BE49-F238E27FC236}">
                <a16:creationId xmlns="" xmlns:a16="http://schemas.microsoft.com/office/drawing/2014/main" id="{2F725E91-60B6-4956-A412-7767EB984EC3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4" name="Полилиния: фигура 43">
              <a:extLst>
                <a:ext uri="{FF2B5EF4-FFF2-40B4-BE49-F238E27FC236}">
                  <a16:creationId xmlns="" xmlns:a16="http://schemas.microsoft.com/office/drawing/2014/main" id="{11A5E429-D628-4045-9B46-92EAEA3CDB93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="" xmlns:a16="http://schemas.microsoft.com/office/drawing/2014/main" id="{2C0D6A1A-6C5F-4296-93CE-68069FD8CEDB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="" xmlns:a16="http://schemas.microsoft.com/office/drawing/2014/main" id="{224ED769-1C10-4D2D-977A-B829227E9400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="" xmlns:a16="http://schemas.microsoft.com/office/drawing/2014/main" id="{0F429D82-2576-4003-8046-F1163FBB5C12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="" xmlns:a16="http://schemas.microsoft.com/office/drawing/2014/main" id="{1058D693-2B55-4B24-BA15-A6866F34AD27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="" xmlns:a16="http://schemas.microsoft.com/office/drawing/2014/main" id="{8E055322-2F81-4B2C-8B81-46492F222854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="" xmlns:a16="http://schemas.microsoft.com/office/drawing/2014/main" id="{977505DD-8646-4A41-9C98-50F5585F2E6F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52" name="Picture 13" descr="A person holding a gun&#10;&#10;Description automatically generated">
            <a:extLst>
              <a:ext uri="{FF2B5EF4-FFF2-40B4-BE49-F238E27FC236}">
                <a16:creationId xmlns="" xmlns:a16="http://schemas.microsoft.com/office/drawing/2014/main" id="{6B993A97-AC60-4CD9-A4F0-9F18335FEF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996" y="0"/>
            <a:ext cx="3419003" cy="5471160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D65E8BC3-1734-4FBE-BF84-9A764CD062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5D227CB2-622E-41D4-8BE3-BDA1F972D5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5281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4_Титул (Шахт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D8F6D55F-5930-432D-A320-C29856F1DD97}"/>
              </a:ext>
            </a:extLst>
          </p:cNvPr>
          <p:cNvSpPr/>
          <p:nvPr userDrawn="1"/>
        </p:nvSpPr>
        <p:spPr>
          <a:xfrm rot="5400000">
            <a:off x="-57769" y="6453611"/>
            <a:ext cx="462163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DDB3EE4B-B5BA-454A-A0F9-E1D7F3FB0C14}"/>
              </a:ext>
            </a:extLst>
          </p:cNvPr>
          <p:cNvSpPr/>
          <p:nvPr userDrawn="1"/>
        </p:nvSpPr>
        <p:spPr>
          <a:xfrm rot="5400000">
            <a:off x="2804731" y="3475573"/>
            <a:ext cx="462163" cy="5378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DCC876BD-0329-4C6F-B0F9-5F9AE8B6DD52}"/>
              </a:ext>
            </a:extLst>
          </p:cNvPr>
          <p:cNvSpPr/>
          <p:nvPr userDrawn="1"/>
        </p:nvSpPr>
        <p:spPr>
          <a:xfrm rot="5400000">
            <a:off x="7203420" y="3993096"/>
            <a:ext cx="462163" cy="3419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35" name="Graphic 22">
            <a:extLst>
              <a:ext uri="{FF2B5EF4-FFF2-40B4-BE49-F238E27FC236}">
                <a16:creationId xmlns="" xmlns:a16="http://schemas.microsoft.com/office/drawing/2014/main" id="{FE8E284F-8CC0-4408-A25D-81B0F31188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36" name="Title 1">
            <a:extLst>
              <a:ext uri="{FF2B5EF4-FFF2-40B4-BE49-F238E27FC236}">
                <a16:creationId xmlns="" xmlns:a16="http://schemas.microsoft.com/office/drawing/2014/main" id="{07EA1B3B-8DD6-4A53-82D1-B96333C410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grpSp>
        <p:nvGrpSpPr>
          <p:cNvPr id="40" name="Graphic 21">
            <a:extLst>
              <a:ext uri="{FF2B5EF4-FFF2-40B4-BE49-F238E27FC236}">
                <a16:creationId xmlns="" xmlns:a16="http://schemas.microsoft.com/office/drawing/2014/main" id="{E9E281CD-787E-4983-8174-FAA5E4121769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1" name="Полилиния: фигура 40">
              <a:extLst>
                <a:ext uri="{FF2B5EF4-FFF2-40B4-BE49-F238E27FC236}">
                  <a16:creationId xmlns="" xmlns:a16="http://schemas.microsoft.com/office/drawing/2014/main" id="{83509D1E-CAFE-4E6C-AC39-4D309BA2AF86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="" xmlns:a16="http://schemas.microsoft.com/office/drawing/2014/main" id="{863B6F2D-F114-425A-862D-0ED2780B363D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3" name="Graphic 20">
            <a:extLst>
              <a:ext uri="{FF2B5EF4-FFF2-40B4-BE49-F238E27FC236}">
                <a16:creationId xmlns="" xmlns:a16="http://schemas.microsoft.com/office/drawing/2014/main" id="{2DCE2021-ED23-44FC-B105-215D1FB73573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4" name="Полилиния: фигура 43">
              <a:extLst>
                <a:ext uri="{FF2B5EF4-FFF2-40B4-BE49-F238E27FC236}">
                  <a16:creationId xmlns="" xmlns:a16="http://schemas.microsoft.com/office/drawing/2014/main" id="{4FFAAE5E-C485-4415-BB9A-2230090885EB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="" xmlns:a16="http://schemas.microsoft.com/office/drawing/2014/main" id="{44249E97-6FD9-4065-9D6C-99BEFB76C187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="" xmlns:a16="http://schemas.microsoft.com/office/drawing/2014/main" id="{5D19FBC9-323F-40E8-BB07-9AD7CE19F2EC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="" xmlns:a16="http://schemas.microsoft.com/office/drawing/2014/main" id="{7DEA92FC-57FB-4DFE-9C20-07BAD53845D0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="" xmlns:a16="http://schemas.microsoft.com/office/drawing/2014/main" id="{752233E2-502F-4F28-A16E-2DD76FCF82B7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="" xmlns:a16="http://schemas.microsoft.com/office/drawing/2014/main" id="{402BE672-3D82-458E-8E0E-0D4B4C5EE30E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="" xmlns:a16="http://schemas.microsoft.com/office/drawing/2014/main" id="{82437DCC-C615-44B1-8B69-DF464D7B4577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52" name="Picture 4" descr="A picture containing old, sitting, pile, motorcycle&#10;&#10;Description automatically generated">
            <a:extLst>
              <a:ext uri="{FF2B5EF4-FFF2-40B4-BE49-F238E27FC236}">
                <a16:creationId xmlns="" xmlns:a16="http://schemas.microsoft.com/office/drawing/2014/main" id="{8E0E08B2-CB63-40A7-BFC2-98C2ED5B89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996" y="0"/>
            <a:ext cx="3419003" cy="5471160"/>
          </a:xfrm>
          <a:prstGeom prst="rect">
            <a:avLst/>
          </a:prstGeom>
        </p:spPr>
      </p:pic>
      <p:sp>
        <p:nvSpPr>
          <p:cNvPr id="22" name="Subtitle 2">
            <a:extLst>
              <a:ext uri="{FF2B5EF4-FFF2-40B4-BE49-F238E27FC236}">
                <a16:creationId xmlns="" xmlns:a16="http://schemas.microsoft.com/office/drawing/2014/main" id="{7DDBB051-63F7-4544-AA08-73B6D8CFF7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1E5A75B6-AA10-47D4-A799-60CAE4CACC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8" name="Text Placeholder 4">
            <a:extLst>
              <a:ext uri="{FF2B5EF4-FFF2-40B4-BE49-F238E27FC236}">
                <a16:creationId xmlns="" xmlns:a16="http://schemas.microsoft.com/office/drawing/2014/main" id="{4D487E92-EC1F-4585-ABDB-CE72F3615D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143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_Титул (Мос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4" descr="A picture containing water, boat, train, large&#10;&#10;Description automatically generated">
            <a:extLst>
              <a:ext uri="{FF2B5EF4-FFF2-40B4-BE49-F238E27FC236}">
                <a16:creationId xmlns="" xmlns:a16="http://schemas.microsoft.com/office/drawing/2014/main" id="{1965B914-DEC2-4C35-A171-3641D65C32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19"/>
            <a:ext cx="9144000" cy="6851561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6EA0E9A1-B4EA-4A04-A1CE-EC6A94B5AC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3678020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3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2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EA55D20B-36AB-4A58-B4F0-8693286A00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2510" y="2302735"/>
            <a:ext cx="4259490" cy="1418850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14" name="Rectangle 17">
            <a:extLst>
              <a:ext uri="{FF2B5EF4-FFF2-40B4-BE49-F238E27FC236}">
                <a16:creationId xmlns="" xmlns:a16="http://schemas.microsoft.com/office/drawing/2014/main" id="{64F79525-B21A-470A-A536-7B1B9084164D}"/>
              </a:ext>
            </a:extLst>
          </p:cNvPr>
          <p:cNvSpPr/>
          <p:nvPr userDrawn="1"/>
        </p:nvSpPr>
        <p:spPr>
          <a:xfrm>
            <a:off x="7553203" y="6669094"/>
            <a:ext cx="1590648" cy="18891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="" xmlns:a16="http://schemas.microsoft.com/office/drawing/2014/main" id="{8B47EA50-3774-4636-8EB5-6E97CBA01806}"/>
              </a:ext>
            </a:extLst>
          </p:cNvPr>
          <p:cNvSpPr/>
          <p:nvPr userDrawn="1"/>
        </p:nvSpPr>
        <p:spPr>
          <a:xfrm>
            <a:off x="1" y="6669094"/>
            <a:ext cx="4673526" cy="1889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8A7F6914-D171-4037-9C4B-6345638DEFC5}"/>
              </a:ext>
            </a:extLst>
          </p:cNvPr>
          <p:cNvSpPr/>
          <p:nvPr userDrawn="1"/>
        </p:nvSpPr>
        <p:spPr>
          <a:xfrm>
            <a:off x="4673527" y="6669094"/>
            <a:ext cx="2879683" cy="1889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46" name="Graphic 22">
            <a:extLst>
              <a:ext uri="{FF2B5EF4-FFF2-40B4-BE49-F238E27FC236}">
                <a16:creationId xmlns="" xmlns:a16="http://schemas.microsoft.com/office/drawing/2014/main" id="{EFF97914-E1DB-4449-B28E-7770975BAD7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grpSp>
        <p:nvGrpSpPr>
          <p:cNvPr id="57" name="Graphic 20">
            <a:extLst>
              <a:ext uri="{FF2B5EF4-FFF2-40B4-BE49-F238E27FC236}">
                <a16:creationId xmlns="" xmlns:a16="http://schemas.microsoft.com/office/drawing/2014/main" id="{1657915F-F5D6-41E1-9CAC-A39BB40180E4}"/>
              </a:ext>
            </a:extLst>
          </p:cNvPr>
          <p:cNvGrpSpPr/>
          <p:nvPr userDrawn="1"/>
        </p:nvGrpSpPr>
        <p:grpSpPr>
          <a:xfrm>
            <a:off x="312511" y="4475296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58" name="Полилиния: фигура 57">
              <a:extLst>
                <a:ext uri="{FF2B5EF4-FFF2-40B4-BE49-F238E27FC236}">
                  <a16:creationId xmlns="" xmlns:a16="http://schemas.microsoft.com/office/drawing/2014/main" id="{88768CEC-8515-4D0E-A9EF-AEC7D67BF149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Полилиния: фигура 58">
              <a:extLst>
                <a:ext uri="{FF2B5EF4-FFF2-40B4-BE49-F238E27FC236}">
                  <a16:creationId xmlns="" xmlns:a16="http://schemas.microsoft.com/office/drawing/2014/main" id="{96AF4520-A30D-4A55-96F6-4670BA2FB1DB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Полилиния: фигура 59">
              <a:extLst>
                <a:ext uri="{FF2B5EF4-FFF2-40B4-BE49-F238E27FC236}">
                  <a16:creationId xmlns="" xmlns:a16="http://schemas.microsoft.com/office/drawing/2014/main" id="{7F6513BD-8606-47B2-A15F-E123C4628EA0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Полилиния: фигура 60">
              <a:extLst>
                <a:ext uri="{FF2B5EF4-FFF2-40B4-BE49-F238E27FC236}">
                  <a16:creationId xmlns="" xmlns:a16="http://schemas.microsoft.com/office/drawing/2014/main" id="{3586E12E-C45B-489C-B1E2-582B506E00A3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" name="Полилиния: фигура 61">
              <a:extLst>
                <a:ext uri="{FF2B5EF4-FFF2-40B4-BE49-F238E27FC236}">
                  <a16:creationId xmlns="" xmlns:a16="http://schemas.microsoft.com/office/drawing/2014/main" id="{05017E24-1894-4FDC-BA3D-B8D96056D851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Полилиния: фигура 62">
              <a:extLst>
                <a:ext uri="{FF2B5EF4-FFF2-40B4-BE49-F238E27FC236}">
                  <a16:creationId xmlns="" xmlns:a16="http://schemas.microsoft.com/office/drawing/2014/main" id="{A10336C5-60C9-4D41-8875-8AAE852E4714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" name="Полилиния: фигура 63">
              <a:extLst>
                <a:ext uri="{FF2B5EF4-FFF2-40B4-BE49-F238E27FC236}">
                  <a16:creationId xmlns="" xmlns:a16="http://schemas.microsoft.com/office/drawing/2014/main" id="{83145A3A-5B09-4401-A9C2-76C6EC7C2C9C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1" name="Text Placeholder 4">
            <a:extLst>
              <a:ext uri="{FF2B5EF4-FFF2-40B4-BE49-F238E27FC236}">
                <a16:creationId xmlns="" xmlns:a16="http://schemas.microsoft.com/office/drawing/2014/main" id="{234CB63A-A7D0-496F-9024-4EB6C4108A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496869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  <p:sp>
        <p:nvSpPr>
          <p:cNvPr id="23" name="Subtitle 2">
            <a:extLst>
              <a:ext uri="{FF2B5EF4-FFF2-40B4-BE49-F238E27FC236}">
                <a16:creationId xmlns="" xmlns:a16="http://schemas.microsoft.com/office/drawing/2014/main" id="{1F741916-C5D8-4A8D-AC14-3D9B09D4BA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2510" y="3947550"/>
            <a:ext cx="4259490" cy="307777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marL="0" indent="0" algn="l">
              <a:spcAft>
                <a:spcPts val="0"/>
              </a:spcAft>
              <a:buNone/>
              <a:defRPr lang="en-US" sz="2000" dirty="0">
                <a:solidFill>
                  <a:schemeClr val="tx1"/>
                </a:solidFill>
              </a:defRPr>
            </a:lvl1pPr>
          </a:lstStyle>
          <a:p>
            <a:pPr marL="107991" lvl="0" indent="-107991"/>
            <a:r>
              <a:rPr lang="ru-RU" dirty="0"/>
              <a:t>Под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287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039483629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" name="Слайд think-cell" r:id="rId38" imgW="360" imgH="360" progId="">
                  <p:embed/>
                </p:oleObj>
              </mc:Choice>
              <mc:Fallback>
                <p:oleObj name="Слайд think-cell" r:id="rId38" imgW="360" imgH="360" progId="">
                  <p:embed/>
                  <p:pic>
                    <p:nvPicPr>
                      <p:cNvPr id="0" name="Picture 4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7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696ED78B-0F34-4CEB-A787-8CD6DEA7D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9" y="501026"/>
            <a:ext cx="7175003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lvl="0" defTabSz="91440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6CF8B8A5-C1E5-477B-B9D7-6C70B0C8CB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58213" y="6481204"/>
            <a:ext cx="250032" cy="11541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DEB59802-BD4F-4539-9450-1E26DF6D19CC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0842B67-EA6D-4958-B375-E5330C516946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>
            <a:extLst>
              <a:ext uri="{FF2B5EF4-FFF2-40B4-BE49-F238E27FC236}">
                <a16:creationId xmlns="" xmlns:a16="http://schemas.microsoft.com/office/drawing/2014/main" id="{353FFA94-442A-4128-BA07-1B6109C05F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759" y="6423496"/>
            <a:ext cx="8139589" cy="2308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6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17582D03-8BE6-4504-914B-9C19B4AED5FF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1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9" name="Текст 8">
            <a:extLst>
              <a:ext uri="{FF2B5EF4-FFF2-40B4-BE49-F238E27FC236}">
                <a16:creationId xmlns="" xmlns:a16="http://schemas.microsoft.com/office/drawing/2014/main" id="{20D29777-5B04-4B51-A960-8B721641A5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6550" y="1092200"/>
            <a:ext cx="8464550" cy="50763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44989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748" r:id="rId2"/>
    <p:sldLayoutId id="2147483877" r:id="rId3"/>
    <p:sldLayoutId id="2147483750" r:id="rId4"/>
    <p:sldLayoutId id="2147483865" r:id="rId5"/>
    <p:sldLayoutId id="2147483845" r:id="rId6"/>
    <p:sldLayoutId id="2147483866" r:id="rId7"/>
    <p:sldLayoutId id="2147483867" r:id="rId8"/>
    <p:sldLayoutId id="2147483851" r:id="rId9"/>
    <p:sldLayoutId id="2147483709" r:id="rId10"/>
    <p:sldLayoutId id="2147483707" r:id="rId11"/>
    <p:sldLayoutId id="2147483874" r:id="rId12"/>
    <p:sldLayoutId id="2147483884" r:id="rId13"/>
    <p:sldLayoutId id="2147483862" r:id="rId14"/>
    <p:sldLayoutId id="2147483878" r:id="rId15"/>
    <p:sldLayoutId id="2147483873" r:id="rId16"/>
    <p:sldLayoutId id="2147483881" r:id="rId17"/>
    <p:sldLayoutId id="2147483875" r:id="rId18"/>
    <p:sldLayoutId id="2147483882" r:id="rId19"/>
    <p:sldLayoutId id="2147483863" r:id="rId20"/>
    <p:sldLayoutId id="2147483883" r:id="rId21"/>
    <p:sldLayoutId id="2147483871" r:id="rId22"/>
    <p:sldLayoutId id="2147483879" r:id="rId23"/>
    <p:sldLayoutId id="2147483864" r:id="rId24"/>
    <p:sldLayoutId id="2147483885" r:id="rId25"/>
    <p:sldLayoutId id="2147483872" r:id="rId26"/>
    <p:sldLayoutId id="2147483880" r:id="rId27"/>
    <p:sldLayoutId id="2147483870" r:id="rId28"/>
    <p:sldLayoutId id="2147483869" r:id="rId29"/>
    <p:sldLayoutId id="2147483854" r:id="rId30"/>
    <p:sldLayoutId id="2147483696" r:id="rId31"/>
    <p:sldLayoutId id="2147483800" r:id="rId32"/>
    <p:sldLayoutId id="2147483801" r:id="rId33"/>
  </p:sldLayoutIdLst>
  <p:hf hdr="0" dt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lang="en-US" sz="2000" b="1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07991" indent="-107991" algn="l" defTabSz="685749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D7817"/>
        </a:buClr>
        <a:buFont typeface="Wingdings" panose="05000000000000000000" pitchFamily="2" charset="2"/>
        <a:buChar char="§"/>
        <a:defRPr lang="en-US" sz="1200" kern="1200" dirty="0">
          <a:solidFill>
            <a:srgbClr val="000000"/>
          </a:solidFill>
          <a:latin typeface="Arial"/>
          <a:ea typeface="+mn-ea"/>
          <a:cs typeface="+mn-cs"/>
        </a:defRPr>
      </a:lvl1pPr>
      <a:lvl2pPr marL="288000" indent="-144000" algn="l" defTabSz="68574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68000" indent="-172800" algn="l" defTabSz="685749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lang="en-US" sz="105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144000" algn="l" defTabSz="68574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─"/>
        <a:defRPr lang="en-US" sz="105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92000" indent="-172800" algn="l" defTabSz="685749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4"/>
        </a:buClr>
        <a:buFont typeface="Wingdings" panose="05000000000000000000" pitchFamily="2" charset="2"/>
        <a:buChar char="§"/>
        <a:defRPr lang="ru-RU" sz="9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2" pos="212" userDrawn="1">
          <p15:clr>
            <a:srgbClr val="F26B43"/>
          </p15:clr>
        </p15:guide>
        <p15:guide id="4" pos="5544" userDrawn="1">
          <p15:clr>
            <a:srgbClr val="F26B43"/>
          </p15:clr>
        </p15:guide>
        <p15:guide id="6" pos="2880" userDrawn="1">
          <p15:clr>
            <a:srgbClr val="FBAE40"/>
          </p15:clr>
        </p15:guide>
        <p15:guide id="7" orient="horz" pos="572" userDrawn="1">
          <p15:clr>
            <a:srgbClr val="F26B43"/>
          </p15:clr>
        </p15:guide>
        <p15:guide id="8" orient="horz" pos="3974" userDrawn="1">
          <p15:clr>
            <a:srgbClr val="F26B43"/>
          </p15:clr>
        </p15:guide>
        <p15:guide id="9" orient="horz" pos="4042" userDrawn="1">
          <p15:clr>
            <a:srgbClr val="FBAE40"/>
          </p15:clr>
        </p15:guide>
        <p15:guide id="10" orient="horz" pos="4201" userDrawn="1">
          <p15:clr>
            <a:srgbClr val="FBAE40"/>
          </p15:clr>
        </p15:guide>
        <p15:guide id="11" orient="horz" pos="2273" userDrawn="1">
          <p15:clr>
            <a:srgbClr val="FBAE40"/>
          </p15:clr>
        </p15:guide>
        <p15:guide id="12" orient="horz" pos="686" userDrawn="1">
          <p15:clr>
            <a:srgbClr val="FBAE40"/>
          </p15:clr>
        </p15:guide>
        <p15:guide id="13" orient="horz" pos="3884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3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kcson42.ru/" TargetMode="External"/><Relationship Id="rId2" Type="http://schemas.openxmlformats.org/officeDocument/2006/relationships/hyperlink" Target="mailto:203nadegda@rikt.ru" TargetMode="Externa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4900751"/>
              </p:ext>
            </p:extLst>
          </p:nvPr>
        </p:nvGraphicFramePr>
        <p:xfrm>
          <a:off x="1193" y="85844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0" name="Слайд think-cell" r:id="rId5" imgW="470" imgH="469" progId="TCLayout.ActiveDocument.1">
                  <p:embed/>
                </p:oleObj>
              </mc:Choice>
              <mc:Fallback>
                <p:oleObj name="Слайд think-cell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85844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Заголовок 51">
            <a:extLst>
              <a:ext uri="{FF2B5EF4-FFF2-40B4-BE49-F238E27FC236}">
                <a16:creationId xmlns:a16="http://schemas.microsoft.com/office/drawing/2014/main" xmlns="" id="{8D6DBABE-A2DC-41FA-BD43-C697461432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ЕВРАЗ: город друзей – город </a:t>
            </a:r>
            <a:r>
              <a:rPr lang="ru-RU" dirty="0" smtClean="0"/>
              <a:t>идей!</a:t>
            </a:r>
            <a:endParaRPr lang="ru-RU" dirty="0"/>
          </a:p>
        </p:txBody>
      </p:sp>
      <p:sp>
        <p:nvSpPr>
          <p:cNvPr id="53" name="Подзаголовок 52">
            <a:extLst>
              <a:ext uri="{FF2B5EF4-FFF2-40B4-BE49-F238E27FC236}">
                <a16:creationId xmlns:a16="http://schemas.microsoft.com/office/drawing/2014/main" xmlns="" id="{F47084F0-5F38-4107-9560-737ECCA0A4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7552" y="3160811"/>
            <a:ext cx="4716885" cy="307777"/>
          </a:xfrm>
        </p:spPr>
        <p:txBody>
          <a:bodyPr/>
          <a:lstStyle/>
          <a:p>
            <a:r>
              <a:rPr lang="ru-RU" dirty="0" smtClean="0"/>
              <a:t>Жизнь в РИТМ-е</a:t>
            </a:r>
            <a:endParaRPr lang="ru-RU" dirty="0"/>
          </a:p>
        </p:txBody>
      </p:sp>
      <p:sp>
        <p:nvSpPr>
          <p:cNvPr id="54" name="Текст 53">
            <a:extLst>
              <a:ext uri="{FF2B5EF4-FFF2-40B4-BE49-F238E27FC236}">
                <a16:creationId xmlns:a16="http://schemas.microsoft.com/office/drawing/2014/main" xmlns="" id="{65664224-7D50-4BE8-BF6C-80116B0F3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8429" y="3305906"/>
            <a:ext cx="4494484" cy="1163395"/>
          </a:xfrm>
        </p:spPr>
        <p:txBody>
          <a:bodyPr/>
          <a:lstStyle/>
          <a:p>
            <a:pPr lvl="0"/>
            <a:r>
              <a:rPr lang="ru-RU" b="1" dirty="0" smtClean="0"/>
              <a:t> </a:t>
            </a:r>
            <a:endParaRPr lang="ru-RU" dirty="0"/>
          </a:p>
          <a:p>
            <a:pPr lvl="0"/>
            <a:endParaRPr lang="ru-RU" dirty="0" smtClean="0"/>
          </a:p>
          <a:p>
            <a:pPr lvl="0"/>
            <a:r>
              <a:rPr lang="ru-RU" dirty="0" smtClean="0"/>
              <a:t>Муниципальное бюджетное учреждение «Комплексный центр социального </a:t>
            </a:r>
            <a:r>
              <a:rPr lang="ru-RU" dirty="0"/>
              <a:t>обслуживания населения» </a:t>
            </a:r>
            <a:r>
              <a:rPr lang="ru-RU" dirty="0" smtClean="0"/>
              <a:t>(ИНН 4214010162)</a:t>
            </a:r>
          </a:p>
          <a:p>
            <a:pPr lvl="0"/>
            <a:r>
              <a:rPr lang="ru-RU" dirty="0" smtClean="0"/>
              <a:t>Автор проекта: </a:t>
            </a:r>
            <a:r>
              <a:rPr lang="ru-RU" dirty="0" err="1" smtClean="0"/>
              <a:t>Какаулина</a:t>
            </a:r>
            <a:r>
              <a:rPr lang="ru-RU" dirty="0" smtClean="0"/>
              <a:t> Любовь Николаевна</a:t>
            </a:r>
            <a:endParaRPr lang="ru-RU" dirty="0"/>
          </a:p>
          <a:p>
            <a:pPr lvl="0"/>
            <a:endParaRPr lang="ru-RU" dirty="0"/>
          </a:p>
          <a:p>
            <a:endParaRPr lang="ru-RU" dirty="0"/>
          </a:p>
        </p:txBody>
      </p:sp>
      <p:sp>
        <p:nvSpPr>
          <p:cNvPr id="55" name="Текст 54">
            <a:extLst>
              <a:ext uri="{FF2B5EF4-FFF2-40B4-BE49-F238E27FC236}">
                <a16:creationId xmlns:a16="http://schemas.microsoft.com/office/drawing/2014/main" xmlns="" id="{A81678A9-1119-4723-8F0F-FD5BAD93D7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8429" y="4149984"/>
            <a:ext cx="3039171" cy="166199"/>
          </a:xfrm>
        </p:spPr>
        <p:txBody>
          <a:bodyPr/>
          <a:lstStyle/>
          <a:p>
            <a:r>
              <a:rPr lang="ru-RU" dirty="0" smtClean="0"/>
              <a:t>Междуреченск, 2022 год</a:t>
            </a:r>
            <a:endParaRPr lang="ru-RU" dirty="0"/>
          </a:p>
        </p:txBody>
      </p:sp>
      <p:sp>
        <p:nvSpPr>
          <p:cNvPr id="14" name="AutoShape 2">
            <a:extLst>
              <a:ext uri="{FF2B5EF4-FFF2-40B4-BE49-F238E27FC236}">
                <a16:creationId xmlns:a16="http://schemas.microsoft.com/office/drawing/2014/main" xmlns="" id="{12A488F1-DBEA-4496-B0F0-1C894051007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57700" y="3314700"/>
            <a:ext cx="2286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srgbClr val="000000"/>
              </a:solidFill>
            </a:endParaRPr>
          </a:p>
        </p:txBody>
      </p:sp>
      <p:pic>
        <p:nvPicPr>
          <p:cNvPr id="3481" name="Picture 409"/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23906" y="841687"/>
            <a:ext cx="3313215" cy="4613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69000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B28E30BB-180C-4537-A23D-B4EE1BAB0A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 smtClean="0"/>
              <a:t>Название проекта</a:t>
            </a:r>
            <a:endParaRPr lang="en-US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D020F599-CF47-4F32-AE04-95B0CF2725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2" name="Заголовок 11">
            <a:extLst>
              <a:ext uri="{FF2B5EF4-FFF2-40B4-BE49-F238E27FC236}">
                <a16:creationId xmlns="" xmlns:a16="http://schemas.microsoft.com/office/drawing/2014/main" id="{21EB8DBD-3B8B-414F-B9C5-DD5AAD5CE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="" xmlns:a16="http://schemas.microsoft.com/office/drawing/2014/main" id="{0508EDFE-29DD-479B-B464-1DB6A432BF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" y="-225631"/>
            <a:ext cx="8801100" cy="539139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400" dirty="0" smtClean="0"/>
              <a:t>: </a:t>
            </a:r>
            <a:endParaRPr lang="ru-RU" sz="1400" dirty="0"/>
          </a:p>
          <a:p>
            <a:pPr>
              <a:buNone/>
            </a:pPr>
            <a:endParaRPr lang="ru-RU" sz="1400" b="1" dirty="0" smtClean="0"/>
          </a:p>
          <a:p>
            <a:endParaRPr lang="ru-RU" sz="1400" b="1" dirty="0"/>
          </a:p>
          <a:p>
            <a:pPr marL="0" indent="0">
              <a:buNone/>
            </a:pPr>
            <a:endParaRPr lang="ru-RU" sz="1400" dirty="0"/>
          </a:p>
        </p:txBody>
      </p:sp>
      <p:pic>
        <p:nvPicPr>
          <p:cNvPr id="71682" name="Picture 2" descr="C:\Users\Пользователь\Desktop\Жизнь в РИТМе\фото жизнь в ритме\WhatsApp Image 2022-10-04 at 11.19.39.jpe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60725" y="3475821"/>
            <a:ext cx="3234953" cy="2426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644" y="3475821"/>
            <a:ext cx="3408218" cy="244996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113808" y="1198049"/>
            <a:ext cx="5450774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>
              <a:lnSpc>
                <a:spcPct val="150000"/>
              </a:lnSpc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В сентябре 2022 г.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специалисты прошли обучение правилам работы с программно-индикаторными  комплексами на базе ООО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НПФ «АМАЛТЕЯ"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в плане теоретического аспекта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практическому применению в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аботе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1094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6D6C28E8-FAC6-4510-BDE1-40D005E4A1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80328E6-6E32-4FB9-B408-302927A0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>
          <a:xfrm>
            <a:off x="2778826" y="4613168"/>
            <a:ext cx="6175168" cy="1552682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sz="11200" b="1" dirty="0" smtClean="0">
                <a:latin typeface="Times New Roman" pitchFamily="18" charset="0"/>
                <a:cs typeface="Times New Roman" pitchFamily="18" charset="0"/>
              </a:rPr>
              <a:t>                               </a:t>
            </a:r>
          </a:p>
          <a:p>
            <a:pPr marL="0" indent="0">
              <a:buNone/>
            </a:pPr>
            <a:r>
              <a:rPr lang="ru-RU" sz="5500" dirty="0" smtClean="0">
                <a:cs typeface="AngsanaUPC" pitchFamily="18" charset="-34"/>
              </a:rPr>
              <a:t> 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7989" y="3134295"/>
            <a:ext cx="3943661" cy="2957746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822369" y="1170570"/>
            <a:ext cx="785552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137" y="3139836"/>
            <a:ext cx="4381995" cy="2957747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261256" y="866250"/>
            <a:ext cx="8630393" cy="23221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dirty="0">
                <a:latin typeface="Times New Roman"/>
                <a:ea typeface="Times New Roman"/>
                <a:cs typeface="Times New Roman"/>
              </a:rPr>
              <a:t> В </a:t>
            </a:r>
            <a:r>
              <a:rPr lang="ru-RU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начале работы, все участники были </a:t>
            </a:r>
            <a:r>
              <a:rPr lang="ru-RU" dirty="0">
                <a:latin typeface="Times New Roman"/>
                <a:ea typeface="Times New Roman"/>
                <a:cs typeface="Times New Roman"/>
              </a:rPr>
              <a:t>разделены на 5 групп (по 12 человек) по типу заболеваний:</a:t>
            </a:r>
            <a:endParaRPr lang="ru-RU" sz="1400" dirty="0">
              <a:latin typeface="Calibri"/>
              <a:ea typeface="Calibri"/>
              <a:cs typeface="Times New Roman"/>
            </a:endParaRPr>
          </a:p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b="1" dirty="0" smtClean="0">
                <a:latin typeface="Times New Roman"/>
                <a:ea typeface="Times New Roman"/>
                <a:cs typeface="Times New Roman"/>
              </a:rPr>
              <a:t>первая </a:t>
            </a:r>
            <a:r>
              <a:rPr lang="ru-RU" b="1" dirty="0">
                <a:latin typeface="Times New Roman"/>
                <a:ea typeface="Times New Roman"/>
                <a:cs typeface="Times New Roman"/>
              </a:rPr>
              <a:t>группа</a:t>
            </a:r>
            <a:r>
              <a:rPr lang="ru-RU" dirty="0">
                <a:latin typeface="Times New Roman"/>
                <a:ea typeface="Times New Roman"/>
                <a:cs typeface="Times New Roman"/>
              </a:rPr>
              <a:t> -   пожилые люди  с когнитивными нарушениями; </a:t>
            </a:r>
            <a:endParaRPr lang="ru-RU" sz="1400" dirty="0">
              <a:latin typeface="Calibri"/>
              <a:ea typeface="Calibri"/>
              <a:cs typeface="Times New Roman"/>
            </a:endParaRPr>
          </a:p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b="1" dirty="0">
                <a:latin typeface="Times New Roman"/>
                <a:ea typeface="Times New Roman"/>
                <a:cs typeface="Times New Roman"/>
              </a:rPr>
              <a:t>вторая группа</a:t>
            </a:r>
            <a:r>
              <a:rPr lang="ru-RU" dirty="0">
                <a:latin typeface="Times New Roman"/>
                <a:ea typeface="Times New Roman"/>
                <a:cs typeface="Times New Roman"/>
              </a:rPr>
              <a:t> - пожилые люди с нарушением опорно-двигательного аппарата; </a:t>
            </a:r>
            <a:r>
              <a:rPr lang="ru-RU" b="1" dirty="0">
                <a:latin typeface="Times New Roman"/>
                <a:ea typeface="Times New Roman"/>
                <a:cs typeface="Times New Roman"/>
              </a:rPr>
              <a:t>третья группа</a:t>
            </a:r>
            <a:r>
              <a:rPr lang="ru-RU" dirty="0">
                <a:latin typeface="Times New Roman"/>
                <a:ea typeface="Times New Roman"/>
                <a:cs typeface="Times New Roman"/>
              </a:rPr>
              <a:t> – инвалиды, имеющие ментальные нарушения от 18 - 40 лет;</a:t>
            </a:r>
            <a:endParaRPr lang="ru-RU" sz="1400" dirty="0">
              <a:latin typeface="Calibri"/>
              <a:ea typeface="Calibri"/>
              <a:cs typeface="Times New Roman"/>
            </a:endParaRPr>
          </a:p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b="1" dirty="0">
                <a:latin typeface="Times New Roman"/>
                <a:ea typeface="Times New Roman"/>
                <a:cs typeface="Times New Roman"/>
              </a:rPr>
              <a:t>четвертая группа</a:t>
            </a:r>
            <a:r>
              <a:rPr lang="ru-RU" dirty="0">
                <a:latin typeface="Times New Roman"/>
                <a:ea typeface="Times New Roman"/>
                <a:cs typeface="Times New Roman"/>
              </a:rPr>
              <a:t> - граждане, перенесшие инсульт; </a:t>
            </a:r>
            <a:endParaRPr lang="ru-RU" sz="1400" dirty="0">
              <a:latin typeface="Calibri"/>
              <a:ea typeface="Calibri"/>
              <a:cs typeface="Times New Roman"/>
            </a:endParaRPr>
          </a:p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b="1" dirty="0">
                <a:latin typeface="Times New Roman"/>
                <a:ea typeface="Times New Roman"/>
                <a:cs typeface="Times New Roman"/>
              </a:rPr>
              <a:t>пятая группа</a:t>
            </a:r>
            <a:r>
              <a:rPr lang="ru-RU" dirty="0">
                <a:latin typeface="Times New Roman"/>
                <a:ea typeface="Times New Roman"/>
                <a:cs typeface="Times New Roman"/>
              </a:rPr>
              <a:t> - граждане с заболеванием деменция.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2836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6D6C28E8-FAC6-4510-BDE1-40D005E4A1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80328E6-6E32-4FB9-B408-302927A0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>
          <a:xfrm>
            <a:off x="2778826" y="4613168"/>
            <a:ext cx="6175168" cy="1552682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sz="11200" b="1" dirty="0" smtClean="0">
                <a:latin typeface="Times New Roman" pitchFamily="18" charset="0"/>
                <a:cs typeface="Times New Roman" pitchFamily="18" charset="0"/>
              </a:rPr>
              <a:t>                               </a:t>
            </a:r>
          </a:p>
          <a:p>
            <a:pPr marL="0" indent="0">
              <a:buNone/>
            </a:pPr>
            <a:r>
              <a:rPr lang="ru-RU" sz="5500" dirty="0" smtClean="0">
                <a:cs typeface="AngsanaUPC" pitchFamily="18" charset="-34"/>
              </a:rPr>
              <a:t> 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22369" y="1170570"/>
            <a:ext cx="785552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1257" y="1381852"/>
            <a:ext cx="8630393" cy="8576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dirty="0" smtClean="0">
                <a:latin typeface="Times New Roman"/>
                <a:ea typeface="Times New Roman"/>
                <a:cs typeface="Times New Roman"/>
              </a:rPr>
              <a:t>Работа </a:t>
            </a:r>
            <a:r>
              <a:rPr lang="ru-RU" dirty="0">
                <a:latin typeface="Times New Roman"/>
                <a:ea typeface="Times New Roman"/>
                <a:cs typeface="Times New Roman"/>
              </a:rPr>
              <a:t>на оборудовании проходила в течение 6 месяцев. </a:t>
            </a:r>
            <a:endParaRPr lang="ru-RU" dirty="0" smtClean="0">
              <a:latin typeface="Times New Roman"/>
              <a:ea typeface="Times New Roman"/>
              <a:cs typeface="Times New Roman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dirty="0" smtClean="0">
                <a:latin typeface="Times New Roman"/>
                <a:ea typeface="Times New Roman"/>
                <a:cs typeface="Times New Roman"/>
              </a:rPr>
              <a:t>Всего </a:t>
            </a:r>
            <a:r>
              <a:rPr lang="ru-RU" dirty="0">
                <a:latin typeface="Times New Roman"/>
                <a:ea typeface="Times New Roman"/>
                <a:cs typeface="Times New Roman"/>
              </a:rPr>
              <a:t>прошли обучение и коррекцию на новых программных комплексах 60 человек. </a:t>
            </a:r>
            <a:endParaRPr lang="ru-RU" sz="1400" dirty="0">
              <a:effectLst/>
              <a:latin typeface="Calibri"/>
              <a:ea typeface="Calibri"/>
              <a:cs typeface="Times New Roman"/>
            </a:endParaRPr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010" y="3134295"/>
            <a:ext cx="3969817" cy="2957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3731" name="Picture 3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74524" y="2526328"/>
            <a:ext cx="2930238" cy="3630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31017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6D6C28E8-FAC6-4510-BDE1-40D005E4A1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80328E6-6E32-4FB9-B408-302927A0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>
          <a:xfrm>
            <a:off x="2778826" y="4613168"/>
            <a:ext cx="6175168" cy="1552682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sz="11200" b="1" dirty="0" smtClean="0">
                <a:latin typeface="Times New Roman" pitchFamily="18" charset="0"/>
                <a:cs typeface="Times New Roman" pitchFamily="18" charset="0"/>
              </a:rPr>
              <a:t>                               </a:t>
            </a:r>
          </a:p>
          <a:p>
            <a:pPr marL="0" indent="0">
              <a:buNone/>
            </a:pPr>
            <a:r>
              <a:rPr lang="ru-RU" sz="5500" dirty="0" smtClean="0">
                <a:cs typeface="AngsanaUPC" pitchFamily="18" charset="-34"/>
              </a:rPr>
              <a:t> 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44384" y="1170570"/>
            <a:ext cx="833351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ru-RU" sz="2000" dirty="0">
                <a:latin typeface="Times New Roman"/>
                <a:ea typeface="Times New Roman"/>
                <a:cs typeface="Times New Roman"/>
              </a:rPr>
              <a:t> Реализация проекта </a:t>
            </a:r>
            <a:r>
              <a:rPr lang="ru-RU" sz="2400" b="1" dirty="0">
                <a:latin typeface="Times New Roman"/>
                <a:ea typeface="Times New Roman"/>
                <a:cs typeface="Times New Roman"/>
              </a:rPr>
              <a:t>«Жизнь в РИТМ-е» 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освещалась в СМИ и интернет - </a:t>
            </a:r>
            <a:r>
              <a:rPr lang="ru-RU" sz="2000" dirty="0" smtClean="0">
                <a:latin typeface="Times New Roman"/>
                <a:ea typeface="Times New Roman"/>
                <a:cs typeface="Times New Roman"/>
              </a:rPr>
              <a:t>ресурсах.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1257" y="1381852"/>
            <a:ext cx="8630393" cy="390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dirty="0" smtClean="0">
                <a:latin typeface="Times New Roman"/>
                <a:ea typeface="Times New Roman"/>
                <a:cs typeface="Times New Roman"/>
              </a:rPr>
              <a:t> </a:t>
            </a:r>
            <a:endParaRPr lang="ru-RU" sz="1400" dirty="0">
              <a:effectLst/>
              <a:latin typeface="Calibri"/>
              <a:ea typeface="Calibri"/>
              <a:cs typeface="Times New Roman"/>
            </a:endParaRPr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91802" y="2548859"/>
            <a:ext cx="3638674" cy="3494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28706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6D6C28E8-FAC6-4510-BDE1-40D005E4A1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80328E6-6E32-4FB9-B408-302927A0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>
          <a:xfrm>
            <a:off x="2778826" y="4613168"/>
            <a:ext cx="6175168" cy="1552682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sz="11200" b="1" dirty="0" smtClean="0">
                <a:latin typeface="Times New Roman" pitchFamily="18" charset="0"/>
                <a:cs typeface="Times New Roman" pitchFamily="18" charset="0"/>
              </a:rPr>
              <a:t>                               </a:t>
            </a:r>
          </a:p>
          <a:p>
            <a:pPr marL="0" indent="0">
              <a:buNone/>
            </a:pPr>
            <a:r>
              <a:rPr lang="ru-RU" sz="5500" dirty="0" smtClean="0">
                <a:cs typeface="AngsanaUPC" pitchFamily="18" charset="-34"/>
              </a:rPr>
              <a:t> 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22369" y="1170570"/>
            <a:ext cx="7855526" cy="2569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  <a:tabLst>
                <a:tab pos="1647825" algn="l"/>
              </a:tabLst>
            </a:pPr>
            <a:r>
              <a:rPr lang="ru-RU" sz="2000" dirty="0">
                <a:latin typeface="Times New Roman"/>
                <a:ea typeface="Times New Roman"/>
                <a:cs typeface="Times New Roman"/>
              </a:rPr>
              <a:t> </a:t>
            </a:r>
            <a:r>
              <a:rPr lang="ru-RU" sz="2000" b="1" dirty="0">
                <a:latin typeface="Times New Roman"/>
                <a:ea typeface="Times New Roman"/>
                <a:cs typeface="Times New Roman"/>
              </a:rPr>
              <a:t>По итогам проекта проведен анализ результатов:</a:t>
            </a:r>
            <a:endParaRPr lang="ru-RU" sz="1600" dirty="0">
              <a:latin typeface="Calibri"/>
              <a:ea typeface="Calibri"/>
              <a:cs typeface="Times New Roman"/>
            </a:endParaRPr>
          </a:p>
          <a:p>
            <a:pPr algn="just">
              <a:lnSpc>
                <a:spcPct val="115000"/>
              </a:lnSpc>
              <a:spcAft>
                <a:spcPts val="0"/>
              </a:spcAft>
              <a:tabLst>
                <a:tab pos="1647825" algn="l"/>
              </a:tabLst>
            </a:pPr>
            <a:r>
              <a:rPr lang="ru-RU" sz="2000" dirty="0" smtClean="0">
                <a:latin typeface="Times New Roman"/>
                <a:ea typeface="Times New Roman"/>
                <a:cs typeface="Times New Roman"/>
              </a:rPr>
              <a:t>У </a:t>
            </a:r>
            <a:r>
              <a:rPr lang="ru-RU" sz="2000" b="1" dirty="0" smtClean="0">
                <a:latin typeface="Times New Roman"/>
                <a:ea typeface="Times New Roman"/>
                <a:cs typeface="Times New Roman"/>
              </a:rPr>
              <a:t>участников </a:t>
            </a:r>
            <a:r>
              <a:rPr lang="ru-RU" sz="2000" b="1" dirty="0">
                <a:latin typeface="Times New Roman"/>
                <a:ea typeface="Times New Roman"/>
                <a:cs typeface="Times New Roman"/>
              </a:rPr>
              <a:t>с когнитивными нарушениями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, улучшились </a:t>
            </a:r>
            <a:r>
              <a:rPr lang="ru-RU" sz="2000" dirty="0" smtClean="0">
                <a:latin typeface="Times New Roman"/>
                <a:ea typeface="Times New Roman"/>
                <a:cs typeface="Times New Roman"/>
              </a:rPr>
              <a:t>показатели по  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общему  эмоциональному  </a:t>
            </a:r>
            <a:r>
              <a:rPr lang="ru-RU" sz="2000" dirty="0" smtClean="0">
                <a:latin typeface="Times New Roman"/>
                <a:ea typeface="Times New Roman"/>
                <a:cs typeface="Times New Roman"/>
              </a:rPr>
              <a:t>фону на 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88 % </a:t>
            </a:r>
            <a:r>
              <a:rPr lang="ru-RU" sz="2000" dirty="0" smtClean="0">
                <a:latin typeface="Times New Roman"/>
                <a:ea typeface="Times New Roman"/>
                <a:cs typeface="Times New Roman"/>
              </a:rPr>
              <a:t>, 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снизился показатель по уровню тревожности перед работой на интерактивном оборудовании, повысился уровень внимания и концентрации при более длительной работе для решения поставленной задачи - способность запоминать зрительно и на слух.</a:t>
            </a:r>
            <a:endParaRPr lang="ru-RU" sz="1600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1257" y="1381852"/>
            <a:ext cx="8630393" cy="390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dirty="0" smtClean="0">
                <a:latin typeface="Times New Roman"/>
                <a:ea typeface="Times New Roman"/>
                <a:cs typeface="Times New Roman"/>
              </a:rPr>
              <a:t> </a:t>
            </a:r>
            <a:endParaRPr lang="ru-RU" sz="1400" dirty="0">
              <a:effectLst/>
              <a:latin typeface="Calibri"/>
              <a:ea typeface="Calibri"/>
              <a:cs typeface="Times New Roman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7024" y="3740504"/>
            <a:ext cx="3918857" cy="2395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89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6D6C28E8-FAC6-4510-BDE1-40D005E4A1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80328E6-6E32-4FB9-B408-302927A0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>
          <a:xfrm>
            <a:off x="2778826" y="4613168"/>
            <a:ext cx="6175168" cy="1552682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sz="11200" b="1" dirty="0" smtClean="0">
                <a:latin typeface="Times New Roman" pitchFamily="18" charset="0"/>
                <a:cs typeface="Times New Roman" pitchFamily="18" charset="0"/>
              </a:rPr>
              <a:t>                               </a:t>
            </a:r>
          </a:p>
          <a:p>
            <a:pPr marL="0" indent="0">
              <a:buNone/>
            </a:pPr>
            <a:r>
              <a:rPr lang="ru-RU" sz="5500" dirty="0" smtClean="0">
                <a:cs typeface="AngsanaUPC" pitchFamily="18" charset="-34"/>
              </a:rPr>
              <a:t> 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22369" y="1170570"/>
            <a:ext cx="7855526" cy="25474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sz="2000" b="1" dirty="0" smtClean="0">
                <a:latin typeface="Times New Roman"/>
                <a:ea typeface="Times New Roman"/>
                <a:cs typeface="Times New Roman"/>
              </a:rPr>
              <a:t>С </a:t>
            </a:r>
            <a:r>
              <a:rPr lang="ru-RU" sz="2000" b="1" dirty="0">
                <a:latin typeface="Times New Roman"/>
                <a:ea typeface="Times New Roman"/>
                <a:cs typeface="Times New Roman"/>
              </a:rPr>
              <a:t>заболеваниями опорно-двигательного аппарата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 на 97% улучшилась способность совершать микродвижения ногами, меняя их направление, лучше чувствовать стопу и ее работу в разных направлениях, улучшилась координация и подвижность голеностопных суставов, укрепились мышцы спины, улучшилось пространственное мышление, скорость реакций в процессе принятия решений. </a:t>
            </a:r>
            <a:endParaRPr lang="ru-RU" sz="1600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1257" y="1381852"/>
            <a:ext cx="8630393" cy="390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dirty="0" smtClean="0">
                <a:latin typeface="Times New Roman"/>
                <a:ea typeface="Times New Roman"/>
                <a:cs typeface="Times New Roman"/>
              </a:rPr>
              <a:t> </a:t>
            </a:r>
            <a:endParaRPr lang="ru-RU" sz="1400" dirty="0">
              <a:effectLst/>
              <a:latin typeface="Calibri"/>
              <a:ea typeface="Calibri"/>
              <a:cs typeface="Times New Roman"/>
            </a:endParaRPr>
          </a:p>
        </p:txBody>
      </p:sp>
      <p:pic>
        <p:nvPicPr>
          <p:cNvPr id="75781" name="Picture 5" descr="C:\Users\Пользователь\Desktop\фото к проекту Жизнь в ритме  моби лэнд баланс\IMG_20230208_105211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3584864" y="3190020"/>
            <a:ext cx="2695698" cy="3215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4836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6D6C28E8-FAC6-4510-BDE1-40D005E4A1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80328E6-6E32-4FB9-B408-302927A0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>
          <a:xfrm>
            <a:off x="2778826" y="4613168"/>
            <a:ext cx="6175168" cy="1552682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sz="11200" b="1" dirty="0" smtClean="0">
                <a:latin typeface="Times New Roman" pitchFamily="18" charset="0"/>
                <a:cs typeface="Times New Roman" pitchFamily="18" charset="0"/>
              </a:rPr>
              <a:t>                               </a:t>
            </a:r>
          </a:p>
          <a:p>
            <a:pPr marL="0" indent="0">
              <a:buNone/>
            </a:pPr>
            <a:r>
              <a:rPr lang="ru-RU" sz="5500" dirty="0" smtClean="0">
                <a:cs typeface="AngsanaUPC" pitchFamily="18" charset="-34"/>
              </a:rPr>
              <a:t> 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22369" y="1170570"/>
            <a:ext cx="785552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  <a:tabLst>
                <a:tab pos="1647825" algn="l"/>
              </a:tabLst>
            </a:pPr>
            <a:r>
              <a:rPr lang="ru-RU" sz="2000" dirty="0" smtClean="0">
                <a:latin typeface="Times New Roman"/>
                <a:ea typeface="Times New Roman"/>
                <a:cs typeface="Times New Roman"/>
              </a:rPr>
              <a:t>Инвалиды </a:t>
            </a:r>
            <a:r>
              <a:rPr lang="ru-RU" sz="2000" b="1" dirty="0">
                <a:latin typeface="Times New Roman"/>
                <a:ea typeface="Times New Roman"/>
                <a:cs typeface="Times New Roman"/>
              </a:rPr>
              <a:t>с ментальными нарушениями в возрасте от 18 - 40 лет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, с помощью нового оборудования на 82% скорректировали и улучшили слуховую память и внимание, учились </a:t>
            </a:r>
            <a:r>
              <a:rPr lang="ru-RU" sz="2000" dirty="0" smtClean="0">
                <a:latin typeface="Times New Roman"/>
                <a:ea typeface="Times New Roman"/>
                <a:cs typeface="Times New Roman"/>
              </a:rPr>
              <a:t>ориентироваться, 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выработали аккуратность движения рук, улучшили скорость реакций, учились группировать предметы и распределять их. </a:t>
            </a:r>
            <a:endParaRPr lang="ru-RU" sz="1600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1257" y="1381852"/>
            <a:ext cx="8630393" cy="390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dirty="0" smtClean="0">
                <a:latin typeface="Times New Roman"/>
                <a:ea typeface="Times New Roman"/>
                <a:cs typeface="Times New Roman"/>
              </a:rPr>
              <a:t> </a:t>
            </a:r>
            <a:endParaRPr lang="ru-RU" sz="1400" dirty="0">
              <a:effectLst/>
              <a:latin typeface="Calibri"/>
              <a:ea typeface="Calibri"/>
              <a:cs typeface="Times New Roman"/>
            </a:endParaRPr>
          </a:p>
        </p:txBody>
      </p:sp>
      <p:pic>
        <p:nvPicPr>
          <p:cNvPr id="76804" name="Picture 4" descr="C:\Users\Пользователь\Desktop\фото к проекту Жизнь в ритме  моби лэнд баланс\IMG_20230126_151543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70765" y="3915270"/>
            <a:ext cx="3820886" cy="2336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806" name="Picture 6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156" y="3915270"/>
            <a:ext cx="4122719" cy="2336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44041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6D6C28E8-FAC6-4510-BDE1-40D005E4A1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80328E6-6E32-4FB9-B408-302927A0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>
          <a:xfrm>
            <a:off x="2778826" y="4613168"/>
            <a:ext cx="6175168" cy="1552682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sz="11200" b="1" dirty="0" smtClean="0">
                <a:latin typeface="Times New Roman" pitchFamily="18" charset="0"/>
                <a:cs typeface="Times New Roman" pitchFamily="18" charset="0"/>
              </a:rPr>
              <a:t>                               </a:t>
            </a:r>
          </a:p>
          <a:p>
            <a:pPr marL="0" indent="0">
              <a:buNone/>
            </a:pPr>
            <a:r>
              <a:rPr lang="ru-RU" sz="5500" dirty="0" smtClean="0">
                <a:cs typeface="AngsanaUPC" pitchFamily="18" charset="-34"/>
              </a:rPr>
              <a:t> 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22369" y="1170570"/>
            <a:ext cx="785552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sz="2000" dirty="0" smtClean="0">
                <a:latin typeface="Times New Roman"/>
                <a:ea typeface="Times New Roman"/>
                <a:cs typeface="Times New Roman"/>
              </a:rPr>
              <a:t>Для 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граждан, </a:t>
            </a:r>
            <a:r>
              <a:rPr lang="ru-RU" sz="2000" b="1" dirty="0">
                <a:latin typeface="Times New Roman"/>
                <a:ea typeface="Times New Roman"/>
                <a:cs typeface="Times New Roman"/>
              </a:rPr>
              <a:t>перенесших инсульт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, тренировочные занятия на новом оборудовании позволили активизировать работу мозга, когнитивных процессов. При более длительной реабилитации есть возможность улучшить подвижность пораженной ноги или руки в зависимости от индивидуального случая. Все процессы улучшились на 74%.</a:t>
            </a:r>
            <a:endParaRPr lang="ru-RU" sz="1600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1257" y="1381852"/>
            <a:ext cx="8630393" cy="390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dirty="0" smtClean="0">
                <a:latin typeface="Times New Roman"/>
                <a:ea typeface="Times New Roman"/>
                <a:cs typeface="Times New Roman"/>
              </a:rPr>
              <a:t> </a:t>
            </a:r>
            <a:endParaRPr lang="ru-RU" sz="1400" dirty="0">
              <a:effectLst/>
              <a:latin typeface="Calibri"/>
              <a:ea typeface="Calibri"/>
              <a:cs typeface="Times New Roman"/>
            </a:endParaRPr>
          </a:p>
        </p:txBody>
      </p:sp>
      <p:pic>
        <p:nvPicPr>
          <p:cNvPr id="77826" name="Picture 2" descr="C:\Users\Пользователь\Desktop\фото к проекту Жизнь в ритме  моби лэнд баланс\IMG_20230208_101306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56533" y="3133124"/>
            <a:ext cx="3987198" cy="2990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3195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6D6C28E8-FAC6-4510-BDE1-40D005E4A1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80328E6-6E32-4FB9-B408-302927A0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>
          <a:xfrm>
            <a:off x="2778826" y="4613168"/>
            <a:ext cx="6175168" cy="1552682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sz="11200" b="1" dirty="0" smtClean="0">
                <a:latin typeface="Times New Roman" pitchFamily="18" charset="0"/>
                <a:cs typeface="Times New Roman" pitchFamily="18" charset="0"/>
              </a:rPr>
              <a:t>                               </a:t>
            </a:r>
          </a:p>
          <a:p>
            <a:pPr marL="0" indent="0">
              <a:buNone/>
            </a:pPr>
            <a:r>
              <a:rPr lang="ru-RU" sz="5500" dirty="0" smtClean="0">
                <a:cs typeface="AngsanaUPC" pitchFamily="18" charset="-34"/>
              </a:rPr>
              <a:t> 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22369" y="1170570"/>
            <a:ext cx="785552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sz="2000" dirty="0" smtClean="0">
                <a:latin typeface="Times New Roman"/>
                <a:ea typeface="Times New Roman"/>
                <a:cs typeface="Times New Roman"/>
              </a:rPr>
              <a:t>При </a:t>
            </a:r>
            <a:r>
              <a:rPr lang="ru-RU" sz="2000" b="1" dirty="0">
                <a:latin typeface="Times New Roman"/>
                <a:ea typeface="Times New Roman"/>
                <a:cs typeface="Times New Roman"/>
              </a:rPr>
              <a:t>заболевании деменцией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 интерактивное оборудование служит хорошей профилактикой более серьезных </a:t>
            </a:r>
            <a:r>
              <a:rPr lang="ru-RU" sz="2000" dirty="0" err="1" smtClean="0">
                <a:latin typeface="Times New Roman"/>
                <a:ea typeface="Times New Roman"/>
                <a:cs typeface="Times New Roman"/>
              </a:rPr>
              <a:t>дементных</a:t>
            </a:r>
            <a:r>
              <a:rPr lang="ru-RU" sz="2000" dirty="0" smtClean="0">
                <a:latin typeface="Times New Roman"/>
                <a:ea typeface="Times New Roman"/>
                <a:cs typeface="Times New Roman"/>
              </a:rPr>
              <a:t> 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проявлений, помогает держать в тонусе когнитивные процессы, поддерживать «живость» ума. Возможность использовать несколько тренажеров, повысила показатели в этой группе на 73%.</a:t>
            </a:r>
            <a:endParaRPr lang="ru-RU" sz="1600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1257" y="1381852"/>
            <a:ext cx="8630393" cy="390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dirty="0" smtClean="0">
                <a:latin typeface="Times New Roman"/>
                <a:ea typeface="Times New Roman"/>
                <a:cs typeface="Times New Roman"/>
              </a:rPr>
              <a:t> </a:t>
            </a:r>
            <a:endParaRPr lang="ru-RU" sz="1400" dirty="0">
              <a:effectLst/>
              <a:latin typeface="Calibri"/>
              <a:ea typeface="Calibri"/>
              <a:cs typeface="Times New Roman"/>
            </a:endParaRPr>
          </a:p>
        </p:txBody>
      </p:sp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6914" y="3032618"/>
            <a:ext cx="6626431" cy="3128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34192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6D6C28E8-FAC6-4510-BDE1-40D005E4A1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80328E6-6E32-4FB9-B408-302927A0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>
          <a:xfrm>
            <a:off x="2778826" y="4613168"/>
            <a:ext cx="6175168" cy="1552682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sz="11200" b="1" dirty="0" smtClean="0">
                <a:latin typeface="Times New Roman" pitchFamily="18" charset="0"/>
                <a:cs typeface="Times New Roman" pitchFamily="18" charset="0"/>
              </a:rPr>
              <a:t>                               </a:t>
            </a:r>
          </a:p>
          <a:p>
            <a:pPr marL="0" indent="0">
              <a:buNone/>
            </a:pPr>
            <a:r>
              <a:rPr lang="ru-RU" sz="5500" dirty="0" smtClean="0">
                <a:cs typeface="AngsanaUPC" pitchFamily="18" charset="-34"/>
              </a:rPr>
              <a:t> 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48690" y="1577194"/>
            <a:ext cx="7855526" cy="27145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sz="2000" dirty="0">
                <a:latin typeface="Times New Roman"/>
                <a:ea typeface="Times New Roman"/>
                <a:cs typeface="Times New Roman"/>
              </a:rPr>
              <a:t>  </a:t>
            </a:r>
            <a:r>
              <a:rPr lang="ru-RU" sz="2000" dirty="0" smtClean="0">
                <a:latin typeface="Times New Roman"/>
                <a:ea typeface="Times New Roman"/>
                <a:cs typeface="Times New Roman"/>
              </a:rPr>
              <a:t>Вначале проекта  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20% участников испытывали страх перед работой на интерактивном оборудовании, к концу проекта они спокойно выполняли задачи, используя оборудование, еще и помогали друг другу советами как лучше выполнить задание. </a:t>
            </a:r>
            <a:endParaRPr lang="ru-RU" sz="2000" dirty="0" smtClean="0">
              <a:latin typeface="Times New Roman"/>
              <a:ea typeface="Times New Roman"/>
              <a:cs typeface="Times New Roman"/>
            </a:endParaRPr>
          </a:p>
          <a:p>
            <a:pPr algn="just">
              <a:lnSpc>
                <a:spcPct val="115000"/>
              </a:lnSpc>
              <a:spcAft>
                <a:spcPts val="0"/>
              </a:spcAft>
            </a:pPr>
            <a:endParaRPr lang="ru-RU" sz="1600" dirty="0">
              <a:latin typeface="Calibri"/>
              <a:ea typeface="Calibri"/>
              <a:cs typeface="Times New Roman"/>
            </a:endParaRPr>
          </a:p>
          <a:p>
            <a:pPr algn="just"/>
            <a:r>
              <a:rPr lang="ru-RU" sz="2000" dirty="0" smtClean="0">
                <a:latin typeface="Times New Roman"/>
                <a:ea typeface="Times New Roman"/>
              </a:rPr>
              <a:t>Для </a:t>
            </a:r>
            <a:r>
              <a:rPr lang="ru-RU" sz="2000" dirty="0">
                <a:latin typeface="Times New Roman"/>
                <a:ea typeface="Times New Roman"/>
              </a:rPr>
              <a:t>80% участников предложение поучаствовать в данном проекте и научиться осваивать новые интерактивные технологии вызвало интерес и удивление, особенно у старшего поколения. </a:t>
            </a:r>
            <a:endParaRPr lang="ru-RU" sz="1600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1257" y="1381852"/>
            <a:ext cx="8630393" cy="390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dirty="0" smtClean="0">
                <a:latin typeface="Times New Roman"/>
                <a:ea typeface="Times New Roman"/>
                <a:cs typeface="Times New Roman"/>
              </a:rPr>
              <a:t> </a:t>
            </a:r>
            <a:endParaRPr lang="ru-RU" sz="1400" dirty="0">
              <a:effectLst/>
              <a:latin typeface="Calibri"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05368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6D6C28E8-FAC6-4510-BDE1-40D005E4A1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80328E6-6E32-4FB9-B408-302927A0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>
          <a:xfrm>
            <a:off x="142505" y="1089850"/>
            <a:ext cx="8847116" cy="5076000"/>
          </a:xfrm>
        </p:spPr>
        <p:txBody>
          <a:bodyPr>
            <a:normAutofit/>
          </a:bodyPr>
          <a:lstStyle/>
          <a:p>
            <a:pPr marL="0" indent="0" algn="ctr">
              <a:spcBef>
                <a:spcPts val="600"/>
              </a:spcBef>
              <a:buNone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В июне 2022 г. МБУ КЦСОН стал победителем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грантового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конкурса социальных проектов «ЕВРАЗ: город друзей – город идей!»</a:t>
            </a:r>
          </a:p>
          <a:p>
            <a:pPr marL="0" indent="0" algn="ctr">
              <a:spcBef>
                <a:spcPts val="600"/>
              </a:spcBef>
              <a:buNone/>
            </a:pPr>
            <a:endParaRPr lang="ru-RU" sz="24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1620" y="2244434"/>
            <a:ext cx="2824983" cy="3996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893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6D6C28E8-FAC6-4510-BDE1-40D005E4A1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80328E6-6E32-4FB9-B408-302927A0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>
          <a:xfrm>
            <a:off x="2778826" y="4613168"/>
            <a:ext cx="6175168" cy="1552682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sz="11200" b="1" dirty="0" smtClean="0">
                <a:latin typeface="Times New Roman" pitchFamily="18" charset="0"/>
                <a:cs typeface="Times New Roman" pitchFamily="18" charset="0"/>
              </a:rPr>
              <a:t>                               </a:t>
            </a:r>
          </a:p>
          <a:p>
            <a:pPr marL="0" indent="0">
              <a:buNone/>
            </a:pPr>
            <a:r>
              <a:rPr lang="ru-RU" sz="5500" dirty="0" smtClean="0">
                <a:cs typeface="AngsanaUPC" pitchFamily="18" charset="-34"/>
              </a:rPr>
              <a:t> 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22369" y="1170570"/>
            <a:ext cx="7855526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sz="2000" dirty="0">
                <a:latin typeface="Times New Roman"/>
                <a:ea typeface="Times New Roman"/>
                <a:cs typeface="Times New Roman"/>
              </a:rPr>
              <a:t>  Участие в проекте позволило пожилым людям расширить свое мировоззрение на мир интерактивных технологий и на себе испытать их возможности. </a:t>
            </a:r>
            <a:endParaRPr lang="ru-RU" sz="1600" dirty="0">
              <a:latin typeface="Calibri"/>
              <a:ea typeface="Calibri"/>
              <a:cs typeface="Times New Roman"/>
            </a:endParaRPr>
          </a:p>
          <a:p>
            <a:pPr indent="342265" algn="just">
              <a:lnSpc>
                <a:spcPct val="115000"/>
              </a:lnSpc>
              <a:spcAft>
                <a:spcPts val="0"/>
              </a:spcAft>
            </a:pPr>
            <a:r>
              <a:rPr lang="ru-RU" sz="2000" dirty="0">
                <a:latin typeface="Times New Roman"/>
                <a:ea typeface="Times New Roman"/>
                <a:cs typeface="Times New Roman"/>
              </a:rPr>
              <a:t>У одних - улучшилась координация, четкость движений, скорость реакций на внешний раздражитель. У других - улучшилась слуховая и зрительная память, внимание,  укрепились мышцы спины. </a:t>
            </a:r>
            <a:endParaRPr lang="ru-RU" sz="1600" dirty="0">
              <a:latin typeface="Calibri"/>
              <a:ea typeface="Calibri"/>
              <a:cs typeface="Times New Roman"/>
            </a:endParaRPr>
          </a:p>
          <a:p>
            <a:pPr indent="342265" algn="just">
              <a:lnSpc>
                <a:spcPct val="115000"/>
              </a:lnSpc>
              <a:spcAft>
                <a:spcPts val="0"/>
              </a:spcAft>
            </a:pPr>
            <a:r>
              <a:rPr lang="ru-RU" sz="2000" dirty="0">
                <a:latin typeface="Times New Roman"/>
                <a:ea typeface="Times New Roman"/>
                <a:cs typeface="Times New Roman"/>
              </a:rPr>
              <a:t>В целом можно говорить о </a:t>
            </a:r>
            <a:r>
              <a:rPr lang="ru-RU" sz="20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положительной динамике  клинической картины и функциональных </a:t>
            </a:r>
            <a:r>
              <a:rPr lang="ru-RU" sz="2000" dirty="0" smtClean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показателях </a:t>
            </a:r>
            <a:r>
              <a:rPr lang="ru-RU" sz="20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участников проекта.</a:t>
            </a:r>
            <a:endParaRPr lang="ru-RU" sz="1600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1257" y="1381852"/>
            <a:ext cx="8630393" cy="390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dirty="0" smtClean="0">
                <a:latin typeface="Times New Roman"/>
                <a:ea typeface="Times New Roman"/>
                <a:cs typeface="Times New Roman"/>
              </a:rPr>
              <a:t> </a:t>
            </a:r>
            <a:endParaRPr lang="ru-RU" sz="1400" dirty="0">
              <a:effectLst/>
              <a:latin typeface="Calibri"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6280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>
          <a:xfrm>
            <a:off x="802457" y="4086130"/>
            <a:ext cx="2123881" cy="246221"/>
          </a:xfrm>
        </p:spPr>
        <p:txBody>
          <a:bodyPr/>
          <a:lstStyle/>
          <a:p>
            <a:r>
              <a:rPr lang="ru-RU" dirty="0" smtClean="0"/>
              <a:t>8(38475) 2-86-24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802456" y="4889367"/>
            <a:ext cx="2123881" cy="246221"/>
          </a:xfrm>
        </p:spPr>
        <p:txBody>
          <a:bodyPr/>
          <a:lstStyle/>
          <a:p>
            <a:r>
              <a:rPr lang="ru-RU" u="sng" dirty="0">
                <a:hlinkClick r:id="rId2"/>
              </a:rPr>
              <a:t>203nadegda@rikt.ru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802456" y="5667220"/>
            <a:ext cx="2123881" cy="246221"/>
          </a:xfrm>
        </p:spPr>
        <p:txBody>
          <a:bodyPr/>
          <a:lstStyle/>
          <a:p>
            <a:r>
              <a:rPr lang="ru-RU" u="sng" dirty="0">
                <a:latin typeface="+mj-lt"/>
                <a:hlinkClick r:id="rId3"/>
              </a:rPr>
              <a:t>http://kcson42.ru/</a:t>
            </a:r>
            <a:endParaRPr lang="ru-RU" dirty="0"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 flipH="1">
            <a:off x="1816924" y="2375554"/>
            <a:ext cx="577140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kumimoji="0" lang="ru-RU" sz="3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пасибо за </a:t>
            </a:r>
            <a:r>
              <a:rPr kumimoji="0" lang="ru-RU" sz="3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внимание</a:t>
            </a:r>
            <a:r>
              <a:rPr lang="ru-RU" sz="3200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3200" dirty="0" smtClean="0">
                <a:solidFill>
                  <a:srgbClr val="000000"/>
                </a:solidFill>
                <a:latin typeface="Arial"/>
              </a:rPr>
              <a:t>!</a:t>
            </a:r>
            <a:endParaRPr kumimoji="0" lang="ru-RU" sz="3200" b="0" i="0" u="none" strike="noStrike" kern="120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6600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6D6C28E8-FAC6-4510-BDE1-40D005E4A1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80328E6-6E32-4FB9-B408-302927A0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>
          <a:xfrm>
            <a:off x="130630" y="1564863"/>
            <a:ext cx="8847116" cy="4111542"/>
          </a:xfrm>
        </p:spPr>
        <p:txBody>
          <a:bodyPr>
            <a:normAutofit/>
          </a:bodyPr>
          <a:lstStyle/>
          <a:p>
            <a:pPr marL="0" indent="0" algn="just">
              <a:spcBef>
                <a:spcPts val="600"/>
              </a:spcBef>
              <a:buNone/>
            </a:pPr>
            <a:endParaRPr lang="ru-RU" sz="31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600"/>
              </a:spcBef>
            </a:pP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Проект «Жизнь в РИТМ-е» направлен на реабилитацию граждан с ограничениями возможности здоровья с применением современных инновационных цифровых технологий</a:t>
            </a:r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. </a:t>
            </a:r>
            <a:endParaRPr lang="ru-RU" sz="24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 algn="just">
              <a:spcBef>
                <a:spcPts val="600"/>
              </a:spcBef>
              <a:buNone/>
            </a:pPr>
            <a:endParaRPr lang="ru-RU" sz="2400" dirty="0"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600"/>
              </a:spcBef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РИТМ 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– это реабилитация, инклюзия, творчество, мобильность.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  <a:p>
            <a:pPr marL="0" indent="0" algn="just">
              <a:spcBef>
                <a:spcPts val="600"/>
              </a:spcBef>
              <a:buNone/>
            </a:pPr>
            <a:endParaRPr lang="ru-RU" sz="38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600"/>
              </a:spcBef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4955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6D6C28E8-FAC6-4510-BDE1-40D005E4A1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80328E6-6E32-4FB9-B408-302927A0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>
          <a:xfrm>
            <a:off x="166255" y="899845"/>
            <a:ext cx="8847116" cy="5076000"/>
          </a:xfrm>
        </p:spPr>
        <p:txBody>
          <a:bodyPr>
            <a:normAutofit/>
          </a:bodyPr>
          <a:lstStyle/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Бюджет проекта</a:t>
            </a:r>
          </a:p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Общая стоимость проекта: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610 148,00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руб.</a:t>
            </a:r>
          </a:p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Запрашиваемый бюджет проекта в рамках гранта: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486 445, 00 руб.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Собственные средства организации: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123 703, 00 руб.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255" y="2125073"/>
            <a:ext cx="8977745" cy="4233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48950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B28E30BB-180C-4537-A23D-B4EE1BAB0A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D020F599-CF47-4F32-AE04-95B0CF2725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2" name="Заголовок 11">
            <a:extLst>
              <a:ext uri="{FF2B5EF4-FFF2-40B4-BE49-F238E27FC236}">
                <a16:creationId xmlns="" xmlns:a16="http://schemas.microsoft.com/office/drawing/2014/main" id="{21EB8DBD-3B8B-414F-B9C5-DD5AAD5CE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13754" y="1329796"/>
            <a:ext cx="855023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Комфорт ЛОГО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  </a:t>
            </a:r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pPr algn="ctr" fontAlgn="base"/>
            <a:r>
              <a:rPr lang="ru-RU" dirty="0">
                <a:latin typeface="Times New Roman" pitchFamily="18" charset="0"/>
                <a:cs typeface="Times New Roman" pitchFamily="18" charset="0"/>
              </a:rPr>
              <a:t>П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ограммно-индикаторное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устройство для профилактики и коррекции речевых расстройств и коррекции психоэмоционального состояния методом БОС (биологической обратной связи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algn="ctr" fontAlgn="base"/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algn="ctr" fontAlgn="base"/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 algn="ctr" fontAlgn="base"/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28904" y="4113684"/>
            <a:ext cx="3135085" cy="21950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010" y="4113684"/>
            <a:ext cx="4726379" cy="21235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23082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B28E30BB-180C-4537-A23D-B4EE1BAB0A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D020F599-CF47-4F32-AE04-95B0CF2725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2" name="Заголовок 11">
            <a:extLst>
              <a:ext uri="{FF2B5EF4-FFF2-40B4-BE49-F238E27FC236}">
                <a16:creationId xmlns="" xmlns:a16="http://schemas.microsoft.com/office/drawing/2014/main" id="{21EB8DBD-3B8B-414F-B9C5-DD5AAD5CE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09699" y="1767509"/>
            <a:ext cx="4572000" cy="28931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2000" b="1" dirty="0" smtClean="0"/>
              <a:t>Баланс</a:t>
            </a:r>
          </a:p>
          <a:p>
            <a:pPr lvl="0"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программный комплекс, предназначенный для тренировки двигательных навыков по методике, позволяющей проводить тренировочные занятия с лицами разного возраста, с разными физическими возможностями, в том числе с пожилыми людьми для восстановления нарушенных двигательных и опорных функций.</a:t>
            </a:r>
          </a:p>
          <a:p>
            <a:pPr algn="ctr"/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8314" y="1625301"/>
            <a:ext cx="3774373" cy="339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436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B28E30BB-180C-4537-A23D-B4EE1BAB0A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D020F599-CF47-4F32-AE04-95B0CF2725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2" name="Заголовок 11">
            <a:extLst>
              <a:ext uri="{FF2B5EF4-FFF2-40B4-BE49-F238E27FC236}">
                <a16:creationId xmlns="" xmlns:a16="http://schemas.microsoft.com/office/drawing/2014/main" id="{21EB8DBD-3B8B-414F-B9C5-DD5AAD5CE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6389" y="1731883"/>
            <a:ext cx="3479468" cy="3400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19694" y="1910013"/>
            <a:ext cx="4572000" cy="2831544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228600" algn="just">
              <a:lnSpc>
                <a:spcPct val="115000"/>
              </a:lnSpc>
              <a:spcAft>
                <a:spcPts val="600"/>
              </a:spcAft>
            </a:pPr>
            <a:r>
              <a:rPr lang="ru-RU" sz="20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З</a:t>
            </a:r>
            <a:r>
              <a:rPr lang="ru-RU" sz="2000" b="1" dirty="0" smtClean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адачи </a:t>
            </a:r>
            <a:r>
              <a:rPr lang="ru-RU" sz="2000" b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использования </a:t>
            </a:r>
            <a:r>
              <a:rPr lang="ru-RU" sz="2000" b="1" dirty="0" smtClean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комплекса:</a:t>
            </a:r>
          </a:p>
          <a:p>
            <a:pPr marL="107991" lvl="0" indent="-107991" algn="just" defTabSz="685749">
              <a:spcAft>
                <a:spcPts val="600"/>
              </a:spcAft>
              <a:buClr>
                <a:srgbClr val="ED7817"/>
              </a:buClr>
              <a:buFont typeface="Wingdings" panose="05000000000000000000" pitchFamily="2" charset="2"/>
              <a:buChar char="§"/>
            </a:pPr>
            <a:r>
              <a:rPr lang="ru-RU" sz="2000" dirty="0" smtClean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 в</a:t>
            </a:r>
            <a:r>
              <a:rPr lang="ru-RU" sz="2000" dirty="0" smtClean="0">
                <a:latin typeface="Times New Roman"/>
                <a:ea typeface="Times New Roman"/>
                <a:cs typeface="Times New Roman"/>
              </a:rPr>
              <a:t>осстановление</a:t>
            </a:r>
            <a:r>
              <a:rPr lang="ru-RU" sz="2000" dirty="0" smtClean="0">
                <a:solidFill>
                  <a:srgbClr val="343E45"/>
                </a:solidFill>
                <a:latin typeface="Times New Roman"/>
                <a:ea typeface="Times New Roman"/>
                <a:cs typeface="Times New Roman"/>
              </a:rPr>
              <a:t> </a:t>
            </a:r>
            <a:r>
              <a:rPr lang="ru-RU" sz="2000" dirty="0">
                <a:latin typeface="Times New Roman"/>
                <a:ea typeface="Times New Roman"/>
                <a:cs typeface="Times New Roman"/>
              </a:rPr>
              <a:t>и тренировка </a:t>
            </a:r>
            <a:r>
              <a:rPr lang="ru-RU" sz="2000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способности участников группы, </a:t>
            </a:r>
            <a:r>
              <a:rPr lang="ru-RU" sz="2000" dirty="0" smtClean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перенесших </a:t>
            </a:r>
            <a:r>
              <a:rPr lang="ru-RU" sz="2000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инсульт, удерживать позу сидя, </a:t>
            </a:r>
            <a:r>
              <a:rPr lang="ru-RU" sz="2000" dirty="0" smtClean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стоя;</a:t>
            </a:r>
          </a:p>
          <a:p>
            <a:pPr marL="107991" lvl="0" indent="-107991" algn="just" defTabSz="685749">
              <a:spcAft>
                <a:spcPts val="600"/>
              </a:spcAft>
              <a:buClr>
                <a:srgbClr val="ED7817"/>
              </a:buClr>
              <a:buFont typeface="Wingdings" panose="05000000000000000000" pitchFamily="2" charset="2"/>
              <a:buChar char="§"/>
            </a:pPr>
            <a:r>
              <a:rPr lang="ru-RU" sz="2000" dirty="0" smtClean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 развитие чувствительности;</a:t>
            </a:r>
          </a:p>
          <a:p>
            <a:pPr marL="107991" lvl="0" indent="-107991" algn="just" defTabSz="685749">
              <a:spcAft>
                <a:spcPts val="600"/>
              </a:spcAft>
              <a:buClr>
                <a:srgbClr val="ED7817"/>
              </a:buClr>
              <a:buFont typeface="Wingdings" panose="05000000000000000000" pitchFamily="2" charset="2"/>
              <a:buChar char="§"/>
            </a:pPr>
            <a:r>
              <a:rPr lang="ru-RU" sz="2000" dirty="0" smtClean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 тренировка </a:t>
            </a:r>
            <a:r>
              <a:rPr lang="ru-RU" sz="2000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вертикальной устойчивости. 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1406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B28E30BB-180C-4537-A23D-B4EE1BAB0A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D020F599-CF47-4F32-AE04-95B0CF2725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2" name="Заголовок 11">
            <a:extLst>
              <a:ext uri="{FF2B5EF4-FFF2-40B4-BE49-F238E27FC236}">
                <a16:creationId xmlns="" xmlns:a16="http://schemas.microsoft.com/office/drawing/2014/main" id="{21EB8DBD-3B8B-414F-B9C5-DD5AAD5CE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11387" y="1859065"/>
            <a:ext cx="3544413" cy="3544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39387" y="2073762"/>
            <a:ext cx="4572000" cy="249299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b="1" dirty="0"/>
              <a:t>МОБИ «Лэнд</a:t>
            </a:r>
            <a:r>
              <a:rPr lang="ru-RU" b="1" dirty="0" smtClean="0"/>
              <a:t>»</a:t>
            </a:r>
            <a:endParaRPr lang="ru-RU" dirty="0" smtClean="0"/>
          </a:p>
          <a:p>
            <a:pPr algn="ctr"/>
            <a:r>
              <a:rPr lang="ru-RU" dirty="0" smtClean="0"/>
              <a:t> </a:t>
            </a:r>
            <a:r>
              <a:rPr lang="ru-RU" dirty="0" smtClean="0">
                <a:solidFill>
                  <a:srgbClr val="000000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Программно-методический комплекс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.</a:t>
            </a:r>
            <a:r>
              <a:rPr lang="ru-RU" sz="2400" dirty="0">
                <a:solidFill>
                  <a:srgbClr val="000000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 </a:t>
            </a:r>
            <a:endParaRPr lang="ru-RU" sz="2400" dirty="0" smtClean="0">
              <a:solidFill>
                <a:srgbClr val="000000"/>
              </a:solidFill>
              <a:latin typeface="Times New Roman" pitchFamily="18" charset="0"/>
              <a:ea typeface="Times New Roman"/>
              <a:cs typeface="Times New Roman" pitchFamily="18" charset="0"/>
            </a:endParaRPr>
          </a:p>
          <a:p>
            <a:pPr algn="ctr"/>
            <a:endParaRPr lang="ru-RU" sz="2400" dirty="0" smtClean="0">
              <a:solidFill>
                <a:srgbClr val="000000"/>
              </a:solidFill>
              <a:latin typeface="Times New Roman" pitchFamily="18" charset="0"/>
              <a:ea typeface="Times New Roman"/>
              <a:cs typeface="Times New Roman" pitchFamily="18" charset="0"/>
            </a:endParaRPr>
          </a:p>
          <a:p>
            <a:pPr algn="ctr"/>
            <a:r>
              <a:rPr lang="ru-RU" dirty="0">
                <a:solidFill>
                  <a:srgbClr val="000000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П</a:t>
            </a:r>
            <a:r>
              <a:rPr lang="ru-RU" dirty="0" smtClean="0">
                <a:solidFill>
                  <a:srgbClr val="000000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озволяет 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существенно улучшить как развитие связанных со слухом сложных когнитивных </a:t>
            </a:r>
            <a:r>
              <a:rPr lang="ru-RU" dirty="0" smtClean="0">
                <a:solidFill>
                  <a:srgbClr val="000000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функций, 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так и улучшить показатели общей сенсорной и сенсомоторной интеграции</a:t>
            </a:r>
            <a:r>
              <a:rPr lang="ru-RU" dirty="0" smtClean="0">
                <a:solidFill>
                  <a:srgbClr val="000000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6050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B28E30BB-180C-4537-A23D-B4EE1BAB0A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«Жизнь в РИТМ-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D020F599-CF47-4F32-AE04-95B0CF2725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2" name="Заголовок 11">
            <a:extLst>
              <a:ext uri="{FF2B5EF4-FFF2-40B4-BE49-F238E27FC236}">
                <a16:creationId xmlns="" xmlns:a16="http://schemas.microsoft.com/office/drawing/2014/main" id="{21EB8DBD-3B8B-414F-B9C5-DD5AAD5CE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8329" y="1055242"/>
            <a:ext cx="3651292" cy="428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23825" y="1490931"/>
            <a:ext cx="4572000" cy="21698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2000" b="1" dirty="0" smtClean="0"/>
              <a:t>САНАТА</a:t>
            </a:r>
          </a:p>
          <a:p>
            <a:pPr lvl="0" algn="ctr">
              <a:lnSpc>
                <a:spcPct val="115000"/>
              </a:lnSpc>
              <a:spcAft>
                <a:spcPts val="0"/>
              </a:spcAft>
            </a:pPr>
            <a:r>
              <a:rPr lang="ru-RU" sz="2000" dirty="0">
                <a:latin typeface="Times New Roman"/>
                <a:ea typeface="Calibri"/>
              </a:rPr>
              <a:t>с</a:t>
            </a:r>
            <a:r>
              <a:rPr lang="ru-RU" sz="2000" dirty="0" smtClean="0">
                <a:latin typeface="Times New Roman"/>
                <a:ea typeface="Calibri"/>
              </a:rPr>
              <a:t>пособствует повышению психофизической устойчивости, сопротивляемости, профилактике психосоматических расстройств и обострений хронических заболеваний</a:t>
            </a:r>
            <a:endParaRPr lang="ru-RU" sz="2000" dirty="0">
              <a:latin typeface="Times New Roman"/>
              <a:ea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75246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3F0VeI5WxjcYIp9N4f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Евоаз">
      <a:dk1>
        <a:srgbClr val="000000"/>
      </a:dk1>
      <a:lt1>
        <a:srgbClr val="FFFFFF"/>
      </a:lt1>
      <a:dk2>
        <a:srgbClr val="414F4F"/>
      </a:dk2>
      <a:lt2>
        <a:srgbClr val="722082"/>
      </a:lt2>
      <a:accent1>
        <a:srgbClr val="FAB82E"/>
      </a:accent1>
      <a:accent2>
        <a:srgbClr val="ED7817"/>
      </a:accent2>
      <a:accent3>
        <a:srgbClr val="B0B1B2"/>
      </a:accent3>
      <a:accent4>
        <a:srgbClr val="E32112"/>
      </a:accent4>
      <a:accent5>
        <a:srgbClr val="5A004B"/>
      </a:accent5>
      <a:accent6>
        <a:srgbClr val="A2165B"/>
      </a:accent6>
      <a:hlink>
        <a:srgbClr val="ED7817"/>
      </a:hlink>
      <a:folHlink>
        <a:srgbClr val="E32112"/>
      </a:folHlink>
    </a:clrScheme>
    <a:fontScheme name="Custom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defRPr kumimoji="0" sz="1200" b="0" i="0" u="none" strike="noStrike" kern="1200" cap="none" spc="0" normalizeH="0" baseline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973</TotalTime>
  <Words>1029</Words>
  <Application>Microsoft Office PowerPoint</Application>
  <PresentationFormat>Экран (4:3)</PresentationFormat>
  <Paragraphs>145</Paragraphs>
  <Slides>2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3" baseType="lpstr">
      <vt:lpstr>Office Theme</vt:lpstr>
      <vt:lpstr>Слайд think-cell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a Stepanova</dc:creator>
  <cp:lastModifiedBy>Tatyana.Shikhova@evraz.com</cp:lastModifiedBy>
  <cp:revision>947</cp:revision>
  <cp:lastPrinted>2022-06-15T09:05:22Z</cp:lastPrinted>
  <dcterms:created xsi:type="dcterms:W3CDTF">2020-03-26T13:24:34Z</dcterms:created>
  <dcterms:modified xsi:type="dcterms:W3CDTF">2023-06-15T02:35:15Z</dcterms:modified>
</cp:coreProperties>
</file>